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8.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93" r:id="rId6"/>
    <p:sldMasterId id="2147483703" r:id="rId7"/>
    <p:sldMasterId id="2147483715" r:id="rId8"/>
    <p:sldMasterId id="2147483746" r:id="rId9"/>
    <p:sldMasterId id="2147483762" r:id="rId10"/>
    <p:sldMasterId id="2147483796" r:id="rId11"/>
    <p:sldMasterId id="2147483818" r:id="rId12"/>
  </p:sldMasterIdLst>
  <p:notesMasterIdLst>
    <p:notesMasterId r:id="rId30"/>
  </p:notesMasterIdLst>
  <p:sldIdLst>
    <p:sldId id="26421" r:id="rId13"/>
    <p:sldId id="2145706252" r:id="rId14"/>
    <p:sldId id="747" r:id="rId15"/>
    <p:sldId id="396" r:id="rId16"/>
    <p:sldId id="2145706258" r:id="rId17"/>
    <p:sldId id="2145706210" r:id="rId18"/>
    <p:sldId id="2145706224" r:id="rId19"/>
    <p:sldId id="739" r:id="rId20"/>
    <p:sldId id="2145706260" r:id="rId21"/>
    <p:sldId id="2145706257" r:id="rId22"/>
    <p:sldId id="2145706262" r:id="rId23"/>
    <p:sldId id="2145706263" r:id="rId24"/>
    <p:sldId id="2145706197" r:id="rId25"/>
    <p:sldId id="2145706242" r:id="rId26"/>
    <p:sldId id="2145706243" r:id="rId27"/>
    <p:sldId id="877" r:id="rId28"/>
    <p:sldId id="2707" r:id="rId2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af Thomas, INI-DOS-DPS-TCL" initials="GTI" lastIdx="10" clrIdx="0">
    <p:extLst>
      <p:ext uri="{19B8F6BF-5375-455C-9EA6-DF929625EA0E}">
        <p15:presenceInfo xmlns:p15="http://schemas.microsoft.com/office/powerpoint/2012/main" userId="S-1-5-21-796845957-1547161642-839522115-556206" providerId="AD"/>
      </p:ext>
    </p:extLst>
  </p:cmAuthor>
  <p:cmAuthor id="2" name="Author"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3198"/>
    <a:srgbClr val="1781E3"/>
    <a:srgbClr val="E61E64"/>
    <a:srgbClr val="11AAFF"/>
    <a:srgbClr val="5944C6"/>
    <a:srgbClr val="A63297"/>
    <a:srgbClr val="0011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5CA7E2-08FA-4608-8DB9-AC00F21D1795}" v="13" dt="2024-03-17T03:46:33.16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778" autoAdjust="0"/>
    <p:restoredTop sz="93961" autoAdjust="0"/>
  </p:normalViewPr>
  <p:slideViewPr>
    <p:cSldViewPr snapToGrid="0">
      <p:cViewPr varScale="1">
        <p:scale>
          <a:sx n="115" d="100"/>
          <a:sy n="115" d="100"/>
        </p:scale>
        <p:origin x="384" y="20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4E5CA7E2-08FA-4608-8DB9-AC00F21D1795}"/>
    <pc:docChg chg="undo custSel addSld delSld modSld sldOrd delMainMaster">
      <pc:chgData name="Graf Thomas, INI-NET-VNC-HCS" userId="487bc3e3-9ce7-4cdd-b7b4-8899ea88d289" providerId="ADAL" clId="{4E5CA7E2-08FA-4608-8DB9-AC00F21D1795}" dt="2024-03-18T23:04:07.598" v="2274" actId="20577"/>
      <pc:docMkLst>
        <pc:docMk/>
      </pc:docMkLst>
      <pc:sldChg chg="addSp delSp modSp add mod">
        <pc:chgData name="Graf Thomas, INI-NET-VNC-HCS" userId="487bc3e3-9ce7-4cdd-b7b4-8899ea88d289" providerId="ADAL" clId="{4E5CA7E2-08FA-4608-8DB9-AC00F21D1795}" dt="2024-03-17T03:49:53.761" v="1839" actId="20577"/>
        <pc:sldMkLst>
          <pc:docMk/>
          <pc:sldMk cId="3059374615" sldId="396"/>
        </pc:sldMkLst>
        <pc:spChg chg="mod">
          <ac:chgData name="Graf Thomas, INI-NET-VNC-HCS" userId="487bc3e3-9ce7-4cdd-b7b4-8899ea88d289" providerId="ADAL" clId="{4E5CA7E2-08FA-4608-8DB9-AC00F21D1795}" dt="2024-03-17T03:46:24.698" v="1668" actId="20577"/>
          <ac:spMkLst>
            <pc:docMk/>
            <pc:sldMk cId="3059374615" sldId="396"/>
            <ac:spMk id="26" creationId="{497E575D-B8C2-4224-A744-A7B13C57660E}"/>
          </ac:spMkLst>
        </pc:spChg>
        <pc:spChg chg="add del">
          <ac:chgData name="Graf Thomas, INI-NET-VNC-HCS" userId="487bc3e3-9ce7-4cdd-b7b4-8899ea88d289" providerId="ADAL" clId="{4E5CA7E2-08FA-4608-8DB9-AC00F21D1795}" dt="2024-03-17T03:46:25.137" v="1669" actId="478"/>
          <ac:spMkLst>
            <pc:docMk/>
            <pc:sldMk cId="3059374615" sldId="396"/>
            <ac:spMk id="29" creationId="{C61D394D-129D-4CA5-B057-22889349BC8F}"/>
          </ac:spMkLst>
        </pc:spChg>
        <pc:spChg chg="mod">
          <ac:chgData name="Graf Thomas, INI-NET-VNC-HCS" userId="487bc3e3-9ce7-4cdd-b7b4-8899ea88d289" providerId="ADAL" clId="{4E5CA7E2-08FA-4608-8DB9-AC00F21D1795}" dt="2024-03-17T03:46:37.076" v="1673" actId="20577"/>
          <ac:spMkLst>
            <pc:docMk/>
            <pc:sldMk cId="3059374615" sldId="396"/>
            <ac:spMk id="30" creationId="{9E026CB9-46E6-44A8-8B80-A02CE0874568}"/>
          </ac:spMkLst>
        </pc:spChg>
        <pc:spChg chg="add del mod">
          <ac:chgData name="Graf Thomas, INI-NET-VNC-HCS" userId="487bc3e3-9ce7-4cdd-b7b4-8899ea88d289" providerId="ADAL" clId="{4E5CA7E2-08FA-4608-8DB9-AC00F21D1795}" dt="2024-03-17T03:47:05.772" v="1698" actId="20577"/>
          <ac:spMkLst>
            <pc:docMk/>
            <pc:sldMk cId="3059374615" sldId="396"/>
            <ac:spMk id="37" creationId="{0BC39990-7FA4-455F-A7F1-DEEE1F6363E1}"/>
          </ac:spMkLst>
        </pc:spChg>
        <pc:spChg chg="mod">
          <ac:chgData name="Graf Thomas, INI-NET-VNC-HCS" userId="487bc3e3-9ce7-4cdd-b7b4-8899ea88d289" providerId="ADAL" clId="{4E5CA7E2-08FA-4608-8DB9-AC00F21D1795}" dt="2024-03-17T03:49:53.761" v="1839" actId="20577"/>
          <ac:spMkLst>
            <pc:docMk/>
            <pc:sldMk cId="3059374615" sldId="396"/>
            <ac:spMk id="39" creationId="{9C86EABD-DE91-45D7-885D-36F7E96B558A}"/>
          </ac:spMkLst>
        </pc:spChg>
        <pc:spChg chg="add del">
          <ac:chgData name="Graf Thomas, INI-NET-VNC-HCS" userId="487bc3e3-9ce7-4cdd-b7b4-8899ea88d289" providerId="ADAL" clId="{4E5CA7E2-08FA-4608-8DB9-AC00F21D1795}" dt="2024-03-17T03:46:25.137" v="1669" actId="478"/>
          <ac:spMkLst>
            <pc:docMk/>
            <pc:sldMk cId="3059374615" sldId="396"/>
            <ac:spMk id="44" creationId="{8677FA5E-11A6-42EE-811E-53F8DA7B2EBF}"/>
          </ac:spMkLst>
        </pc:spChg>
        <pc:spChg chg="add del">
          <ac:chgData name="Graf Thomas, INI-NET-VNC-HCS" userId="487bc3e3-9ce7-4cdd-b7b4-8899ea88d289" providerId="ADAL" clId="{4E5CA7E2-08FA-4608-8DB9-AC00F21D1795}" dt="2024-03-17T03:46:25.137" v="1669" actId="478"/>
          <ac:spMkLst>
            <pc:docMk/>
            <pc:sldMk cId="3059374615" sldId="396"/>
            <ac:spMk id="45" creationId="{A0480661-105C-4932-A672-A7DA47B09335}"/>
          </ac:spMkLst>
        </pc:spChg>
        <pc:spChg chg="add del">
          <ac:chgData name="Graf Thomas, INI-NET-VNC-HCS" userId="487bc3e3-9ce7-4cdd-b7b4-8899ea88d289" providerId="ADAL" clId="{4E5CA7E2-08FA-4608-8DB9-AC00F21D1795}" dt="2024-03-17T03:46:25.137" v="1669" actId="478"/>
          <ac:spMkLst>
            <pc:docMk/>
            <pc:sldMk cId="3059374615" sldId="396"/>
            <ac:spMk id="46" creationId="{3686A189-39F3-4497-B8C6-1A3FDD603ECB}"/>
          </ac:spMkLst>
        </pc:spChg>
        <pc:spChg chg="add del">
          <ac:chgData name="Graf Thomas, INI-NET-VNC-HCS" userId="487bc3e3-9ce7-4cdd-b7b4-8899ea88d289" providerId="ADAL" clId="{4E5CA7E2-08FA-4608-8DB9-AC00F21D1795}" dt="2024-03-17T03:46:25.137" v="1669" actId="478"/>
          <ac:spMkLst>
            <pc:docMk/>
            <pc:sldMk cId="3059374615" sldId="396"/>
            <ac:spMk id="47" creationId="{AAF91844-8B84-4645-B3E9-113D49591A27}"/>
          </ac:spMkLst>
        </pc:spChg>
        <pc:spChg chg="add del">
          <ac:chgData name="Graf Thomas, INI-NET-VNC-HCS" userId="487bc3e3-9ce7-4cdd-b7b4-8899ea88d289" providerId="ADAL" clId="{4E5CA7E2-08FA-4608-8DB9-AC00F21D1795}" dt="2024-03-17T03:46:25.137" v="1669" actId="478"/>
          <ac:spMkLst>
            <pc:docMk/>
            <pc:sldMk cId="3059374615" sldId="396"/>
            <ac:spMk id="50" creationId="{22749B2E-7C7F-40CB-B703-5AEC720BE941}"/>
          </ac:spMkLst>
        </pc:spChg>
        <pc:spChg chg="add del">
          <ac:chgData name="Graf Thomas, INI-NET-VNC-HCS" userId="487bc3e3-9ce7-4cdd-b7b4-8899ea88d289" providerId="ADAL" clId="{4E5CA7E2-08FA-4608-8DB9-AC00F21D1795}" dt="2024-03-17T03:46:25.137" v="1669" actId="478"/>
          <ac:spMkLst>
            <pc:docMk/>
            <pc:sldMk cId="3059374615" sldId="396"/>
            <ac:spMk id="51" creationId="{2B377EB9-EBAA-4281-9022-EDCC11E90694}"/>
          </ac:spMkLst>
        </pc:spChg>
        <pc:spChg chg="add del">
          <ac:chgData name="Graf Thomas, INI-NET-VNC-HCS" userId="487bc3e3-9ce7-4cdd-b7b4-8899ea88d289" providerId="ADAL" clId="{4E5CA7E2-08FA-4608-8DB9-AC00F21D1795}" dt="2024-03-17T03:46:25.137" v="1669" actId="478"/>
          <ac:spMkLst>
            <pc:docMk/>
            <pc:sldMk cId="3059374615" sldId="396"/>
            <ac:spMk id="52" creationId="{A002DD5C-2F1D-4B24-A3B9-EA32C1AB2444}"/>
          </ac:spMkLst>
        </pc:spChg>
        <pc:spChg chg="add del mod">
          <ac:chgData name="Graf Thomas, INI-NET-VNC-HCS" userId="487bc3e3-9ce7-4cdd-b7b4-8899ea88d289" providerId="ADAL" clId="{4E5CA7E2-08FA-4608-8DB9-AC00F21D1795}" dt="2024-03-17T03:47:18.342" v="1710" actId="6549"/>
          <ac:spMkLst>
            <pc:docMk/>
            <pc:sldMk cId="3059374615" sldId="396"/>
            <ac:spMk id="53" creationId="{6B2E910B-0848-4B7D-A422-BE84E625B201}"/>
          </ac:spMkLst>
        </pc:spChg>
        <pc:spChg chg="add del">
          <ac:chgData name="Graf Thomas, INI-NET-VNC-HCS" userId="487bc3e3-9ce7-4cdd-b7b4-8899ea88d289" providerId="ADAL" clId="{4E5CA7E2-08FA-4608-8DB9-AC00F21D1795}" dt="2024-03-17T03:46:25.137" v="1669" actId="478"/>
          <ac:spMkLst>
            <pc:docMk/>
            <pc:sldMk cId="3059374615" sldId="396"/>
            <ac:spMk id="54" creationId="{7BF7327B-AEFF-4A10-8969-68816089343E}"/>
          </ac:spMkLst>
        </pc:spChg>
        <pc:spChg chg="add del mod">
          <ac:chgData name="Graf Thomas, INI-NET-VNC-HCS" userId="487bc3e3-9ce7-4cdd-b7b4-8899ea88d289" providerId="ADAL" clId="{4E5CA7E2-08FA-4608-8DB9-AC00F21D1795}" dt="2024-03-17T03:47:21.757" v="1711" actId="20577"/>
          <ac:spMkLst>
            <pc:docMk/>
            <pc:sldMk cId="3059374615" sldId="396"/>
            <ac:spMk id="55" creationId="{96E36A75-E915-422B-9210-B54D78F083F8}"/>
          </ac:spMkLst>
        </pc:spChg>
        <pc:picChg chg="add del">
          <ac:chgData name="Graf Thomas, INI-NET-VNC-HCS" userId="487bc3e3-9ce7-4cdd-b7b4-8899ea88d289" providerId="ADAL" clId="{4E5CA7E2-08FA-4608-8DB9-AC00F21D1795}" dt="2024-03-17T03:46:25.137" v="1669" actId="478"/>
          <ac:picMkLst>
            <pc:docMk/>
            <pc:sldMk cId="3059374615" sldId="396"/>
            <ac:picMk id="42" creationId="{A5D5865F-644A-490F-A6AA-DB515C96498E}"/>
          </ac:picMkLst>
        </pc:picChg>
        <pc:picChg chg="add del">
          <ac:chgData name="Graf Thomas, INI-NET-VNC-HCS" userId="487bc3e3-9ce7-4cdd-b7b4-8899ea88d289" providerId="ADAL" clId="{4E5CA7E2-08FA-4608-8DB9-AC00F21D1795}" dt="2024-03-17T03:46:25.137" v="1669" actId="478"/>
          <ac:picMkLst>
            <pc:docMk/>
            <pc:sldMk cId="3059374615" sldId="396"/>
            <ac:picMk id="48" creationId="{5237BC0D-AA32-41E5-B34C-EDD871DE0158}"/>
          </ac:picMkLst>
        </pc:picChg>
        <pc:picChg chg="add del">
          <ac:chgData name="Graf Thomas, INI-NET-VNC-HCS" userId="487bc3e3-9ce7-4cdd-b7b4-8899ea88d289" providerId="ADAL" clId="{4E5CA7E2-08FA-4608-8DB9-AC00F21D1795}" dt="2024-03-17T03:46:25.137" v="1669" actId="478"/>
          <ac:picMkLst>
            <pc:docMk/>
            <pc:sldMk cId="3059374615" sldId="396"/>
            <ac:picMk id="49" creationId="{A3E83390-BBAB-48C7-80E4-8DCC454BEAA8}"/>
          </ac:picMkLst>
        </pc:picChg>
        <pc:picChg chg="add del">
          <ac:chgData name="Graf Thomas, INI-NET-VNC-HCS" userId="487bc3e3-9ce7-4cdd-b7b4-8899ea88d289" providerId="ADAL" clId="{4E5CA7E2-08FA-4608-8DB9-AC00F21D1795}" dt="2024-03-17T03:46:25.137" v="1669" actId="478"/>
          <ac:picMkLst>
            <pc:docMk/>
            <pc:sldMk cId="3059374615" sldId="396"/>
            <ac:picMk id="56" creationId="{E293AB02-0D25-4C37-8045-42B002612AFB}"/>
          </ac:picMkLst>
        </pc:picChg>
        <pc:cxnChg chg="add del">
          <ac:chgData name="Graf Thomas, INI-NET-VNC-HCS" userId="487bc3e3-9ce7-4cdd-b7b4-8899ea88d289" providerId="ADAL" clId="{4E5CA7E2-08FA-4608-8DB9-AC00F21D1795}" dt="2024-03-17T03:46:25.137" v="1669" actId="478"/>
          <ac:cxnSpMkLst>
            <pc:docMk/>
            <pc:sldMk cId="3059374615" sldId="396"/>
            <ac:cxnSpMk id="31" creationId="{443E486A-8AB5-4FAE-82DB-37B83C8434E0}"/>
          </ac:cxnSpMkLst>
        </pc:cxnChg>
        <pc:cxnChg chg="add del">
          <ac:chgData name="Graf Thomas, INI-NET-VNC-HCS" userId="487bc3e3-9ce7-4cdd-b7b4-8899ea88d289" providerId="ADAL" clId="{4E5CA7E2-08FA-4608-8DB9-AC00F21D1795}" dt="2024-03-17T03:46:25.137" v="1669" actId="478"/>
          <ac:cxnSpMkLst>
            <pc:docMk/>
            <pc:sldMk cId="3059374615" sldId="396"/>
            <ac:cxnSpMk id="32" creationId="{815C439D-A2BC-4E9A-8330-34C7F221FFF8}"/>
          </ac:cxnSpMkLst>
        </pc:cxnChg>
        <pc:cxnChg chg="add del">
          <ac:chgData name="Graf Thomas, INI-NET-VNC-HCS" userId="487bc3e3-9ce7-4cdd-b7b4-8899ea88d289" providerId="ADAL" clId="{4E5CA7E2-08FA-4608-8DB9-AC00F21D1795}" dt="2024-03-17T03:46:25.137" v="1669" actId="478"/>
          <ac:cxnSpMkLst>
            <pc:docMk/>
            <pc:sldMk cId="3059374615" sldId="396"/>
            <ac:cxnSpMk id="35" creationId="{BF949731-9B03-4735-92A8-FB5E7C0763DE}"/>
          </ac:cxnSpMkLst>
        </pc:cxnChg>
      </pc:sldChg>
      <pc:sldChg chg="del">
        <pc:chgData name="Graf Thomas, INI-NET-VNC-HCS" userId="487bc3e3-9ce7-4cdd-b7b4-8899ea88d289" providerId="ADAL" clId="{4E5CA7E2-08FA-4608-8DB9-AC00F21D1795}" dt="2024-03-15T03:41:37.549" v="50" actId="47"/>
        <pc:sldMkLst>
          <pc:docMk/>
          <pc:sldMk cId="2109912129" sldId="735"/>
        </pc:sldMkLst>
      </pc:sldChg>
      <pc:sldChg chg="ord">
        <pc:chgData name="Graf Thomas, INI-NET-VNC-HCS" userId="487bc3e3-9ce7-4cdd-b7b4-8899ea88d289" providerId="ADAL" clId="{4E5CA7E2-08FA-4608-8DB9-AC00F21D1795}" dt="2024-03-15T03:44:44.582" v="54"/>
        <pc:sldMkLst>
          <pc:docMk/>
          <pc:sldMk cId="1410092625" sldId="739"/>
        </pc:sldMkLst>
      </pc:sldChg>
      <pc:sldChg chg="modSp mod">
        <pc:chgData name="Graf Thomas, INI-NET-VNC-HCS" userId="487bc3e3-9ce7-4cdd-b7b4-8899ea88d289" providerId="ADAL" clId="{4E5CA7E2-08FA-4608-8DB9-AC00F21D1795}" dt="2024-03-18T23:02:50.849" v="2273" actId="20577"/>
        <pc:sldMkLst>
          <pc:docMk/>
          <pc:sldMk cId="3742743098" sldId="747"/>
        </pc:sldMkLst>
        <pc:spChg chg="mod">
          <ac:chgData name="Graf Thomas, INI-NET-VNC-HCS" userId="487bc3e3-9ce7-4cdd-b7b4-8899ea88d289" providerId="ADAL" clId="{4E5CA7E2-08FA-4608-8DB9-AC00F21D1795}" dt="2024-03-18T23:02:50.849" v="2273" actId="20577"/>
          <ac:spMkLst>
            <pc:docMk/>
            <pc:sldMk cId="3742743098" sldId="747"/>
            <ac:spMk id="9" creationId="{8D11295F-2BFA-40E0-8C05-BFE2BB9FEF44}"/>
          </ac:spMkLst>
        </pc:spChg>
      </pc:sldChg>
      <pc:sldChg chg="ord">
        <pc:chgData name="Graf Thomas, INI-NET-VNC-HCS" userId="487bc3e3-9ce7-4cdd-b7b4-8899ea88d289" providerId="ADAL" clId="{4E5CA7E2-08FA-4608-8DB9-AC00F21D1795}" dt="2024-03-17T23:19:03.262" v="1940"/>
        <pc:sldMkLst>
          <pc:docMk/>
          <pc:sldMk cId="3280121901" sldId="877"/>
        </pc:sldMkLst>
      </pc:sldChg>
      <pc:sldChg chg="ord">
        <pc:chgData name="Graf Thomas, INI-NET-VNC-HCS" userId="487bc3e3-9ce7-4cdd-b7b4-8899ea88d289" providerId="ADAL" clId="{4E5CA7E2-08FA-4608-8DB9-AC00F21D1795}" dt="2024-03-17T23:19:03.262" v="1940"/>
        <pc:sldMkLst>
          <pc:docMk/>
          <pc:sldMk cId="578294043" sldId="2707"/>
        </pc:sldMkLst>
      </pc:sldChg>
      <pc:sldChg chg="modSp mod">
        <pc:chgData name="Graf Thomas, INI-NET-VNC-HCS" userId="487bc3e3-9ce7-4cdd-b7b4-8899ea88d289" providerId="ADAL" clId="{4E5CA7E2-08FA-4608-8DB9-AC00F21D1795}" dt="2024-03-18T23:04:07.598" v="2274" actId="20577"/>
        <pc:sldMkLst>
          <pc:docMk/>
          <pc:sldMk cId="83413648" sldId="26421"/>
        </pc:sldMkLst>
        <pc:spChg chg="mod">
          <ac:chgData name="Graf Thomas, INI-NET-VNC-HCS" userId="487bc3e3-9ce7-4cdd-b7b4-8899ea88d289" providerId="ADAL" clId="{4E5CA7E2-08FA-4608-8DB9-AC00F21D1795}" dt="2024-03-15T03:37:48.657" v="29" actId="20577"/>
          <ac:spMkLst>
            <pc:docMk/>
            <pc:sldMk cId="83413648" sldId="26421"/>
            <ac:spMk id="2" creationId="{00000000-0000-0000-0000-000000000000}"/>
          </ac:spMkLst>
        </pc:spChg>
        <pc:spChg chg="mod">
          <ac:chgData name="Graf Thomas, INI-NET-VNC-HCS" userId="487bc3e3-9ce7-4cdd-b7b4-8899ea88d289" providerId="ADAL" clId="{4E5CA7E2-08FA-4608-8DB9-AC00F21D1795}" dt="2024-03-18T23:04:07.598" v="2274" actId="20577"/>
          <ac:spMkLst>
            <pc:docMk/>
            <pc:sldMk cId="83413648" sldId="26421"/>
            <ac:spMk id="5" creationId="{322ED2BF-7B71-4061-81BF-3C0686B7D4D5}"/>
          </ac:spMkLst>
        </pc:spChg>
      </pc:sldChg>
      <pc:sldChg chg="add ord">
        <pc:chgData name="Graf Thomas, INI-NET-VNC-HCS" userId="487bc3e3-9ce7-4cdd-b7b4-8899ea88d289" providerId="ADAL" clId="{4E5CA7E2-08FA-4608-8DB9-AC00F21D1795}" dt="2024-03-17T23:19:03.262" v="1940"/>
        <pc:sldMkLst>
          <pc:docMk/>
          <pc:sldMk cId="2806301597" sldId="2145706197"/>
        </pc:sldMkLst>
      </pc:sldChg>
      <pc:sldChg chg="del">
        <pc:chgData name="Graf Thomas, INI-NET-VNC-HCS" userId="487bc3e3-9ce7-4cdd-b7b4-8899ea88d289" providerId="ADAL" clId="{4E5CA7E2-08FA-4608-8DB9-AC00F21D1795}" dt="2024-03-15T03:41:28.810" v="49" actId="47"/>
        <pc:sldMkLst>
          <pc:docMk/>
          <pc:sldMk cId="345214459" sldId="2145706207"/>
        </pc:sldMkLst>
      </pc:sldChg>
      <pc:sldChg chg="del">
        <pc:chgData name="Graf Thomas, INI-NET-VNC-HCS" userId="487bc3e3-9ce7-4cdd-b7b4-8899ea88d289" providerId="ADAL" clId="{4E5CA7E2-08FA-4608-8DB9-AC00F21D1795}" dt="2024-03-15T03:41:27.667" v="48" actId="47"/>
        <pc:sldMkLst>
          <pc:docMk/>
          <pc:sldMk cId="1015036593" sldId="2145706223"/>
        </pc:sldMkLst>
      </pc:sldChg>
      <pc:sldChg chg="modSp mod">
        <pc:chgData name="Graf Thomas, INI-NET-VNC-HCS" userId="487bc3e3-9ce7-4cdd-b7b4-8899ea88d289" providerId="ADAL" clId="{4E5CA7E2-08FA-4608-8DB9-AC00F21D1795}" dt="2024-03-15T03:44:04.617" v="51" actId="20577"/>
        <pc:sldMkLst>
          <pc:docMk/>
          <pc:sldMk cId="3557278158" sldId="2145706224"/>
        </pc:sldMkLst>
        <pc:spChg chg="mod">
          <ac:chgData name="Graf Thomas, INI-NET-VNC-HCS" userId="487bc3e3-9ce7-4cdd-b7b4-8899ea88d289" providerId="ADAL" clId="{4E5CA7E2-08FA-4608-8DB9-AC00F21D1795}" dt="2024-03-15T03:44:04.617" v="51" actId="20577"/>
          <ac:spMkLst>
            <pc:docMk/>
            <pc:sldMk cId="3557278158" sldId="2145706224"/>
            <ac:spMk id="6" creationId="{D1CC9C78-2B19-41B7-9039-4C3C6946EC12}"/>
          </ac:spMkLst>
        </pc:spChg>
      </pc:sldChg>
      <pc:sldChg chg="ord">
        <pc:chgData name="Graf Thomas, INI-NET-VNC-HCS" userId="487bc3e3-9ce7-4cdd-b7b4-8899ea88d289" providerId="ADAL" clId="{4E5CA7E2-08FA-4608-8DB9-AC00F21D1795}" dt="2024-03-17T23:19:03.262" v="1940"/>
        <pc:sldMkLst>
          <pc:docMk/>
          <pc:sldMk cId="4046606815" sldId="2145706242"/>
        </pc:sldMkLst>
      </pc:sldChg>
      <pc:sldChg chg="ord">
        <pc:chgData name="Graf Thomas, INI-NET-VNC-HCS" userId="487bc3e3-9ce7-4cdd-b7b4-8899ea88d289" providerId="ADAL" clId="{4E5CA7E2-08FA-4608-8DB9-AC00F21D1795}" dt="2024-03-17T23:19:03.262" v="1940"/>
        <pc:sldMkLst>
          <pc:docMk/>
          <pc:sldMk cId="291747477" sldId="2145706243"/>
        </pc:sldMkLst>
      </pc:sldChg>
      <pc:sldChg chg="del">
        <pc:chgData name="Graf Thomas, INI-NET-VNC-HCS" userId="487bc3e3-9ce7-4cdd-b7b4-8899ea88d289" providerId="ADAL" clId="{4E5CA7E2-08FA-4608-8DB9-AC00F21D1795}" dt="2024-03-15T04:12:14.354" v="56" actId="2696"/>
        <pc:sldMkLst>
          <pc:docMk/>
          <pc:sldMk cId="899977745" sldId="2145706253"/>
        </pc:sldMkLst>
      </pc:sldChg>
      <pc:sldChg chg="del">
        <pc:chgData name="Graf Thomas, INI-NET-VNC-HCS" userId="487bc3e3-9ce7-4cdd-b7b4-8899ea88d289" providerId="ADAL" clId="{4E5CA7E2-08FA-4608-8DB9-AC00F21D1795}" dt="2024-03-15T03:44:09.975" v="52" actId="47"/>
        <pc:sldMkLst>
          <pc:docMk/>
          <pc:sldMk cId="1972286622" sldId="2145706259"/>
        </pc:sldMkLst>
      </pc:sldChg>
      <pc:sldChg chg="del">
        <pc:chgData name="Graf Thomas, INI-NET-VNC-HCS" userId="487bc3e3-9ce7-4cdd-b7b4-8899ea88d289" providerId="ADAL" clId="{4E5CA7E2-08FA-4608-8DB9-AC00F21D1795}" dt="2024-03-16T07:45:11.199" v="132" actId="47"/>
        <pc:sldMkLst>
          <pc:docMk/>
          <pc:sldMk cId="2617504443" sldId="2145706261"/>
        </pc:sldMkLst>
      </pc:sldChg>
      <pc:sldChg chg="addSp delSp modSp add mod ord">
        <pc:chgData name="Graf Thomas, INI-NET-VNC-HCS" userId="487bc3e3-9ce7-4cdd-b7b4-8899ea88d289" providerId="ADAL" clId="{4E5CA7E2-08FA-4608-8DB9-AC00F21D1795}" dt="2024-03-17T23:31:16.801" v="2231" actId="313"/>
        <pc:sldMkLst>
          <pc:docMk/>
          <pc:sldMk cId="3640946536" sldId="2145706262"/>
        </pc:sldMkLst>
        <pc:spChg chg="add mod">
          <ac:chgData name="Graf Thomas, INI-NET-VNC-HCS" userId="487bc3e3-9ce7-4cdd-b7b4-8899ea88d289" providerId="ADAL" clId="{4E5CA7E2-08FA-4608-8DB9-AC00F21D1795}" dt="2024-03-17T23:31:16.801" v="2231" actId="313"/>
          <ac:spMkLst>
            <pc:docMk/>
            <pc:sldMk cId="3640946536" sldId="2145706262"/>
            <ac:spMk id="2" creationId="{2304502B-DB95-22D3-8182-FDAB3D316DD7}"/>
          </ac:spMkLst>
        </pc:spChg>
        <pc:spChg chg="mod">
          <ac:chgData name="Graf Thomas, INI-NET-VNC-HCS" userId="487bc3e3-9ce7-4cdd-b7b4-8899ea88d289" providerId="ADAL" clId="{4E5CA7E2-08FA-4608-8DB9-AC00F21D1795}" dt="2024-03-16T07:44:48.929" v="128" actId="20577"/>
          <ac:spMkLst>
            <pc:docMk/>
            <pc:sldMk cId="3640946536" sldId="2145706262"/>
            <ac:spMk id="4" creationId="{9786DE2D-9F3C-E302-78DD-B72DDD139E71}"/>
          </ac:spMkLst>
        </pc:spChg>
        <pc:spChg chg="del">
          <ac:chgData name="Graf Thomas, INI-NET-VNC-HCS" userId="487bc3e3-9ce7-4cdd-b7b4-8899ea88d289" providerId="ADAL" clId="{4E5CA7E2-08FA-4608-8DB9-AC00F21D1795}" dt="2024-03-16T07:44:54.679" v="129" actId="478"/>
          <ac:spMkLst>
            <pc:docMk/>
            <pc:sldMk cId="3640946536" sldId="2145706262"/>
            <ac:spMk id="6" creationId="{FE716085-E3DC-0753-D60E-18DAF09702C3}"/>
          </ac:spMkLst>
        </pc:spChg>
        <pc:spChg chg="del">
          <ac:chgData name="Graf Thomas, INI-NET-VNC-HCS" userId="487bc3e3-9ce7-4cdd-b7b4-8899ea88d289" providerId="ADAL" clId="{4E5CA7E2-08FA-4608-8DB9-AC00F21D1795}" dt="2024-03-16T07:44:54.679" v="129" actId="478"/>
          <ac:spMkLst>
            <pc:docMk/>
            <pc:sldMk cId="3640946536" sldId="2145706262"/>
            <ac:spMk id="7" creationId="{043E93E5-6208-936F-5264-5A7C212DD8A6}"/>
          </ac:spMkLst>
        </pc:spChg>
        <pc:spChg chg="del">
          <ac:chgData name="Graf Thomas, INI-NET-VNC-HCS" userId="487bc3e3-9ce7-4cdd-b7b4-8899ea88d289" providerId="ADAL" clId="{4E5CA7E2-08FA-4608-8DB9-AC00F21D1795}" dt="2024-03-16T07:44:54.679" v="129" actId="478"/>
          <ac:spMkLst>
            <pc:docMk/>
            <pc:sldMk cId="3640946536" sldId="2145706262"/>
            <ac:spMk id="9" creationId="{857614B7-F4B6-088E-AA0E-AC2683B02A03}"/>
          </ac:spMkLst>
        </pc:spChg>
        <pc:graphicFrameChg chg="del">
          <ac:chgData name="Graf Thomas, INI-NET-VNC-HCS" userId="487bc3e3-9ce7-4cdd-b7b4-8899ea88d289" providerId="ADAL" clId="{4E5CA7E2-08FA-4608-8DB9-AC00F21D1795}" dt="2024-03-16T07:44:58.820" v="130" actId="478"/>
          <ac:graphicFrameMkLst>
            <pc:docMk/>
            <pc:sldMk cId="3640946536" sldId="2145706262"/>
            <ac:graphicFrameMk id="5" creationId="{6B89F68D-12F8-552D-63C2-BC999B1BE941}"/>
          </ac:graphicFrameMkLst>
        </pc:graphicFrameChg>
        <pc:picChg chg="add mod">
          <ac:chgData name="Graf Thomas, INI-NET-VNC-HCS" userId="487bc3e3-9ce7-4cdd-b7b4-8899ea88d289" providerId="ADAL" clId="{4E5CA7E2-08FA-4608-8DB9-AC00F21D1795}" dt="2024-03-16T07:45:06.969" v="131"/>
          <ac:picMkLst>
            <pc:docMk/>
            <pc:sldMk cId="3640946536" sldId="2145706262"/>
            <ac:picMk id="10" creationId="{F2968898-D016-57FD-6361-5BBCD25EDE0A}"/>
          </ac:picMkLst>
        </pc:picChg>
        <pc:picChg chg="del">
          <ac:chgData name="Graf Thomas, INI-NET-VNC-HCS" userId="487bc3e3-9ce7-4cdd-b7b4-8899ea88d289" providerId="ADAL" clId="{4E5CA7E2-08FA-4608-8DB9-AC00F21D1795}" dt="2024-03-16T07:44:54.679" v="129" actId="478"/>
          <ac:picMkLst>
            <pc:docMk/>
            <pc:sldMk cId="3640946536" sldId="2145706262"/>
            <ac:picMk id="14" creationId="{BB01FE69-1ECD-B36E-8FC3-DE1A24AF00A6}"/>
          </ac:picMkLst>
        </pc:picChg>
      </pc:sldChg>
      <pc:sldChg chg="modSp add mod ord">
        <pc:chgData name="Graf Thomas, INI-NET-VNC-HCS" userId="487bc3e3-9ce7-4cdd-b7b4-8899ea88d289" providerId="ADAL" clId="{4E5CA7E2-08FA-4608-8DB9-AC00F21D1795}" dt="2024-03-17T23:22:24.009" v="2096" actId="14100"/>
        <pc:sldMkLst>
          <pc:docMk/>
          <pc:sldMk cId="2751980923" sldId="2145706263"/>
        </pc:sldMkLst>
        <pc:spChg chg="mod">
          <ac:chgData name="Graf Thomas, INI-NET-VNC-HCS" userId="487bc3e3-9ce7-4cdd-b7b4-8899ea88d289" providerId="ADAL" clId="{4E5CA7E2-08FA-4608-8DB9-AC00F21D1795}" dt="2024-03-17T23:22:24.009" v="2096" actId="14100"/>
          <ac:spMkLst>
            <pc:docMk/>
            <pc:sldMk cId="2751980923" sldId="2145706263"/>
            <ac:spMk id="9" creationId="{8D11295F-2BFA-40E0-8C05-BFE2BB9FEF44}"/>
          </ac:spMkLst>
        </pc:spChg>
      </pc:sldChg>
      <pc:sldMasterChg chg="del delSldLayout">
        <pc:chgData name="Graf Thomas, INI-NET-VNC-HCS" userId="487bc3e3-9ce7-4cdd-b7b4-8899ea88d289" providerId="ADAL" clId="{4E5CA7E2-08FA-4608-8DB9-AC00F21D1795}" dt="2024-03-16T07:45:11.199" v="132" actId="47"/>
        <pc:sldMasterMkLst>
          <pc:docMk/>
          <pc:sldMasterMk cId="1860565995" sldId="2147483839"/>
        </pc:sldMasterMkLst>
        <pc:sldLayoutChg chg="del">
          <pc:chgData name="Graf Thomas, INI-NET-VNC-HCS" userId="487bc3e3-9ce7-4cdd-b7b4-8899ea88d289" providerId="ADAL" clId="{4E5CA7E2-08FA-4608-8DB9-AC00F21D1795}" dt="2024-03-16T07:45:11.199" v="132" actId="47"/>
          <pc:sldLayoutMkLst>
            <pc:docMk/>
            <pc:sldMasterMk cId="1860565995" sldId="2147483839"/>
            <pc:sldLayoutMk cId="2212810475" sldId="2147483840"/>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3731993514" sldId="2147483841"/>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74894476" sldId="2147483842"/>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554415540" sldId="2147483843"/>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342854614" sldId="2147483844"/>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388376" sldId="2147483845"/>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74293863" sldId="2147483846"/>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29259550" sldId="2147483847"/>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4018565797" sldId="2147483848"/>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234906648" sldId="2147483849"/>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343046516" sldId="2147483850"/>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912880333" sldId="2147483851"/>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3517722037" sldId="214748385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BDD433-4E40-433E-B175-009AB0739125}" type="datetimeFigureOut">
              <a:rPr lang="de-CH" smtClean="0"/>
              <a:t>21.03.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1C083-703C-451B-9F49-71D74F7A8ADE}" type="slidenum">
              <a:rPr lang="de-CH" smtClean="0"/>
              <a:t>‹#›</a:t>
            </a:fld>
            <a:endParaRPr lang="de-CH"/>
          </a:p>
        </p:txBody>
      </p:sp>
    </p:spTree>
    <p:extLst>
      <p:ext uri="{BB962C8B-B14F-4D97-AF65-F5344CB8AC3E}">
        <p14:creationId xmlns:p14="http://schemas.microsoft.com/office/powerpoint/2010/main" val="1862431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a:t>
            </a:fld>
            <a:endParaRPr lang="de-DE" sz="1000" dirty="0"/>
          </a:p>
        </p:txBody>
      </p:sp>
    </p:spTree>
    <p:extLst>
      <p:ext uri="{BB962C8B-B14F-4D97-AF65-F5344CB8AC3E}">
        <p14:creationId xmlns:p14="http://schemas.microsoft.com/office/powerpoint/2010/main" val="2349738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2</a:t>
            </a:fld>
            <a:endParaRPr lang="de-DE" sz="1000" dirty="0"/>
          </a:p>
        </p:txBody>
      </p:sp>
    </p:spTree>
    <p:extLst>
      <p:ext uri="{BB962C8B-B14F-4D97-AF65-F5344CB8AC3E}">
        <p14:creationId xmlns:p14="http://schemas.microsoft.com/office/powerpoint/2010/main" val="2598637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BBCCF6-F8A8-4C49-BF3D-CA1AA74CA975}" type="slidenum">
              <a:rPr kumimoji="0" lang="de-DE" sz="10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3814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4</a:t>
            </a:fld>
            <a:endParaRPr lang="de-DE" sz="1000" dirty="0"/>
          </a:p>
        </p:txBody>
      </p:sp>
    </p:spTree>
    <p:extLst>
      <p:ext uri="{BB962C8B-B14F-4D97-AF65-F5344CB8AC3E}">
        <p14:creationId xmlns:p14="http://schemas.microsoft.com/office/powerpoint/2010/main" val="38664109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5</a:t>
            </a:fld>
            <a:endParaRPr lang="de-DE" sz="1000" dirty="0"/>
          </a:p>
        </p:txBody>
      </p:sp>
    </p:spTree>
    <p:extLst>
      <p:ext uri="{BB962C8B-B14F-4D97-AF65-F5344CB8AC3E}">
        <p14:creationId xmlns:p14="http://schemas.microsoft.com/office/powerpoint/2010/main" val="37148404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6</a:t>
            </a:fld>
            <a:endParaRPr lang="de-DE" sz="1000"/>
          </a:p>
        </p:txBody>
      </p:sp>
    </p:spTree>
    <p:extLst>
      <p:ext uri="{BB962C8B-B14F-4D97-AF65-F5344CB8AC3E}">
        <p14:creationId xmlns:p14="http://schemas.microsoft.com/office/powerpoint/2010/main" val="833254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7</a:t>
            </a:fld>
            <a:endParaRPr lang="de-DE" sz="1000"/>
          </a:p>
        </p:txBody>
      </p:sp>
    </p:spTree>
    <p:extLst>
      <p:ext uri="{BB962C8B-B14F-4D97-AF65-F5344CB8AC3E}">
        <p14:creationId xmlns:p14="http://schemas.microsoft.com/office/powerpoint/2010/main" val="795307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2</a:t>
            </a:fld>
            <a:endParaRPr lang="de-DE" sz="1000" dirty="0"/>
          </a:p>
        </p:txBody>
      </p:sp>
    </p:spTree>
    <p:extLst>
      <p:ext uri="{BB962C8B-B14F-4D97-AF65-F5344CB8AC3E}">
        <p14:creationId xmlns:p14="http://schemas.microsoft.com/office/powerpoint/2010/main" val="2622071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3</a:t>
            </a:fld>
            <a:endParaRPr lang="de-DE" sz="1000" dirty="0"/>
          </a:p>
        </p:txBody>
      </p:sp>
    </p:spTree>
    <p:extLst>
      <p:ext uri="{BB962C8B-B14F-4D97-AF65-F5344CB8AC3E}">
        <p14:creationId xmlns:p14="http://schemas.microsoft.com/office/powerpoint/2010/main" val="37462687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4</a:t>
            </a:fld>
            <a:endParaRPr lang="de-DE" sz="1000" dirty="0"/>
          </a:p>
        </p:txBody>
      </p:sp>
    </p:spTree>
    <p:extLst>
      <p:ext uri="{BB962C8B-B14F-4D97-AF65-F5344CB8AC3E}">
        <p14:creationId xmlns:p14="http://schemas.microsoft.com/office/powerpoint/2010/main" val="2389678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5</a:t>
            </a:fld>
            <a:endParaRPr lang="de-DE" sz="1000"/>
          </a:p>
        </p:txBody>
      </p:sp>
    </p:spTree>
    <p:extLst>
      <p:ext uri="{BB962C8B-B14F-4D97-AF65-F5344CB8AC3E}">
        <p14:creationId xmlns:p14="http://schemas.microsoft.com/office/powerpoint/2010/main" val="729635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B1C083-703C-451B-9F49-71D74F7A8ADE}" type="slidenum">
              <a:rPr kumimoji="0" lang="de-CH" sz="1200" b="0" i="0" u="none" strike="noStrike" kern="1200" cap="none" spc="0" normalizeH="0" baseline="0" noProof="0" smtClean="0">
                <a:ln>
                  <a:noFill/>
                </a:ln>
                <a:solidFill>
                  <a:srgbClr val="333333"/>
                </a:solidFill>
                <a:effectLst/>
                <a:uLnTx/>
                <a:uFillTx/>
                <a:latin typeface="TheSans Swisscom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de-CH" sz="1200" b="0" i="0" u="none" strike="noStrike" kern="1200" cap="none" spc="0" normalizeH="0" baseline="0" noProof="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9321701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B1C083-703C-451B-9F49-71D74F7A8ADE}" type="slidenum">
              <a:rPr kumimoji="0" lang="de-CH" sz="1200" b="0" i="0" u="none" strike="noStrike" kern="1200" cap="none" spc="0" normalizeH="0" baseline="0" noProof="0" smtClean="0">
                <a:ln>
                  <a:noFill/>
                </a:ln>
                <a:solidFill>
                  <a:srgbClr val="333333"/>
                </a:solidFill>
                <a:effectLst/>
                <a:uLnTx/>
                <a:uFillTx/>
                <a:latin typeface="TheSans Swisscom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de-CH" sz="1200" b="0" i="0" u="none" strike="noStrike" kern="1200" cap="none" spc="0" normalizeH="0" baseline="0" noProof="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40456624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8</a:t>
            </a:fld>
            <a:endParaRPr lang="de-DE" sz="1000" dirty="0"/>
          </a:p>
        </p:txBody>
      </p:sp>
    </p:spTree>
    <p:extLst>
      <p:ext uri="{BB962C8B-B14F-4D97-AF65-F5344CB8AC3E}">
        <p14:creationId xmlns:p14="http://schemas.microsoft.com/office/powerpoint/2010/main" val="21141257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3CB1C083-703C-451B-9F49-71D74F7A8ADE}" type="slidenum">
              <a:rPr lang="de-CH" smtClean="0"/>
              <a:t>9</a:t>
            </a:fld>
            <a:endParaRPr lang="de-CH"/>
          </a:p>
        </p:txBody>
      </p:sp>
    </p:spTree>
    <p:extLst>
      <p:ext uri="{BB962C8B-B14F-4D97-AF65-F5344CB8AC3E}">
        <p14:creationId xmlns:p14="http://schemas.microsoft.com/office/powerpoint/2010/main" val="6141139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9"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5122" name="Rectangle 2"/>
          <p:cNvSpPr>
            <a:spLocks noGrp="1" noChangeArrowheads="1"/>
          </p:cNvSpPr>
          <p:nvPr>
            <p:ph type="ctrTitle"/>
          </p:nvPr>
        </p:nvSpPr>
        <p:spPr>
          <a:xfrm>
            <a:off x="1221319" y="1770065"/>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9" y="3590935"/>
            <a:ext cx="4785783" cy="1062039"/>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1467515132"/>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1_Titelfolie">
    <p:spTree>
      <p:nvGrpSpPr>
        <p:cNvPr id="1" name=""/>
        <p:cNvGrpSpPr/>
        <p:nvPr/>
      </p:nvGrpSpPr>
      <p:grpSpPr>
        <a:xfrm>
          <a:off x="0" y="0"/>
          <a:ext cx="0" cy="0"/>
          <a:chOff x="0" y="0"/>
          <a:chExt cx="0" cy="0"/>
        </a:xfrm>
      </p:grpSpPr>
      <p:pic>
        <p:nvPicPr>
          <p:cNvPr id="4" name="Picture 11" descr="Blau"/>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ctrTitle"/>
          </p:nvPr>
        </p:nvSpPr>
        <p:spPr>
          <a:xfrm>
            <a:off x="1221319" y="1770065"/>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9" y="3590935"/>
            <a:ext cx="4785783" cy="1062039"/>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2324852921"/>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12192000"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6" name="Fußzeilenplatzhalter 5"/>
          <p:cNvSpPr>
            <a:spLocks noGrp="1"/>
          </p:cNvSpPr>
          <p:nvPr>
            <p:ph type="ftr" sz="quarter" idx="11"/>
          </p:nvPr>
        </p:nvSpPr>
        <p:spPr bwMode="black"/>
        <p:txBody>
          <a:bodyPr/>
          <a:lstStyle>
            <a:lvl1pPr>
              <a:defRPr>
                <a:solidFill>
                  <a:schemeClr val="tx1"/>
                </a:solidFill>
              </a:defRPr>
            </a:lvl1pPr>
          </a:lstStyle>
          <a:p>
            <a:r>
              <a:rPr lang="en-US"/>
              <a:t>Introduction to Telemetry </a:t>
            </a:r>
            <a:endParaRPr lang="en-GB"/>
          </a:p>
        </p:txBody>
      </p:sp>
      <p:sp>
        <p:nvSpPr>
          <p:cNvPr id="7" name="Foliennummernplatzhalter 6"/>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11" name="Text Placeholder 5">
            <a:extLst>
              <a:ext uri="{FF2B5EF4-FFF2-40B4-BE49-F238E27FC236}">
                <a16:creationId xmlns:a16="http://schemas.microsoft.com/office/drawing/2014/main" id="{3C7B15AF-35F6-4342-BFFD-60CEF2991A69}"/>
              </a:ext>
            </a:extLst>
          </p:cNvPr>
          <p:cNvSpPr>
            <a:spLocks noGrp="1"/>
          </p:cNvSpPr>
          <p:nvPr>
            <p:ph type="body" sz="quarter" idx="15" hasCustomPrompt="1"/>
          </p:nvPr>
        </p:nvSpPr>
        <p:spPr bwMode="gray">
          <a:xfrm>
            <a:off x="255600" y="360000"/>
            <a:ext cx="342000" cy="460800"/>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le 1">
            <a:extLst>
              <a:ext uri="{FF2B5EF4-FFF2-40B4-BE49-F238E27FC236}">
                <a16:creationId xmlns:a16="http://schemas.microsoft.com/office/drawing/2014/main" id="{50C0A1EC-77F3-4323-93F3-DA7A757DE205}"/>
              </a:ext>
            </a:extLst>
          </p:cNvPr>
          <p:cNvSpPr>
            <a:spLocks noGrp="1"/>
          </p:cNvSpPr>
          <p:nvPr>
            <p:ph type="title" hasCustomPrompt="1"/>
          </p:nvPr>
        </p:nvSpPr>
        <p:spPr bwMode="black">
          <a:xfrm>
            <a:off x="1199456" y="3933056"/>
            <a:ext cx="5183882" cy="1656000"/>
          </a:xfrm>
        </p:spPr>
        <p:txBody>
          <a:bodyPr tIns="0"/>
          <a:lstStyle>
            <a:lvl1pPr>
              <a:lnSpc>
                <a:spcPct val="90000"/>
              </a:lnSpc>
              <a:defRPr sz="3200"/>
            </a:lvl1pPr>
          </a:lstStyle>
          <a:p>
            <a:pPr lvl="0"/>
            <a:r>
              <a:rPr lang="en-GB"/>
              <a:t>Click to edit text</a:t>
            </a:r>
          </a:p>
        </p:txBody>
      </p:sp>
    </p:spTree>
    <p:extLst>
      <p:ext uri="{BB962C8B-B14F-4D97-AF65-F5344CB8AC3E}">
        <p14:creationId xmlns:p14="http://schemas.microsoft.com/office/powerpoint/2010/main" val="143592996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7" name="Grafik 2">
            <a:extLst>
              <a:ext uri="{FF2B5EF4-FFF2-40B4-BE49-F238E27FC236}">
                <a16:creationId xmlns:a16="http://schemas.microsoft.com/office/drawing/2014/main" id="{31CCA9A7-7392-474F-A97C-4FFD1536D6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828" r="-3007"/>
          <a:stretch/>
        </p:blipFill>
        <p:spPr>
          <a:xfrm>
            <a:off x="1203656" y="0"/>
            <a:ext cx="12237159" cy="6858000"/>
          </a:xfrm>
          <a:prstGeom prst="rect">
            <a:avLst/>
          </a:prstGeom>
          <a:ln>
            <a:noFill/>
          </a:ln>
        </p:spPr>
      </p:pic>
      <p:sp>
        <p:nvSpPr>
          <p:cNvPr id="5" name="Fußzeilenplatzhalter 4"/>
          <p:cNvSpPr>
            <a:spLocks noGrp="1"/>
          </p:cNvSpPr>
          <p:nvPr>
            <p:ph type="ftr" sz="quarter" idx="11"/>
          </p:nvPr>
        </p:nvSpPr>
        <p:spPr bwMode="black"/>
        <p:txBody>
          <a:bodyPr/>
          <a:lstStyle>
            <a:lvl1pPr>
              <a:defRPr>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9" name="Text Placeholder 10">
            <a:extLst>
              <a:ext uri="{FF2B5EF4-FFF2-40B4-BE49-F238E27FC236}">
                <a16:creationId xmlns:a16="http://schemas.microsoft.com/office/drawing/2014/main" id="{5D46F054-5B83-4656-A174-AFA2194CAC8D}"/>
              </a:ext>
            </a:extLst>
          </p:cNvPr>
          <p:cNvSpPr>
            <a:spLocks noGrp="1"/>
          </p:cNvSpPr>
          <p:nvPr>
            <p:ph type="body" sz="quarter" idx="15" hasCustomPrompt="1"/>
          </p:nvPr>
        </p:nvSpPr>
        <p:spPr bwMode="black">
          <a:xfrm>
            <a:off x="1199456" y="1484313"/>
            <a:ext cx="5112000" cy="4897437"/>
          </a:xfrm>
        </p:spPr>
        <p:txBody>
          <a:bodyPr l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564926922"/>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act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11" name="Text Placeholder 10">
            <a:extLst>
              <a:ext uri="{FF2B5EF4-FFF2-40B4-BE49-F238E27FC236}">
                <a16:creationId xmlns:a16="http://schemas.microsoft.com/office/drawing/2014/main" id="{E96BEA9E-AA8A-4009-9F77-9A844B163972}"/>
              </a:ext>
            </a:extLst>
          </p:cNvPr>
          <p:cNvSpPr>
            <a:spLocks noGrp="1"/>
          </p:cNvSpPr>
          <p:nvPr>
            <p:ph type="body" sz="quarter" idx="15" hasCustomPrompt="1"/>
          </p:nvPr>
        </p:nvSpPr>
        <p:spPr bwMode="gray">
          <a:xfrm>
            <a:off x="1199456" y="1484313"/>
            <a:ext cx="5112000" cy="48974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pic>
        <p:nvPicPr>
          <p:cNvPr id="9" name="Picture 8">
            <a:extLst>
              <a:ext uri="{FF2B5EF4-FFF2-40B4-BE49-F238E27FC236}">
                <a16:creationId xmlns:a16="http://schemas.microsoft.com/office/drawing/2014/main" id="{478744BB-555F-45E2-92B2-3298A462DB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4050918066"/>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5"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256105164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nly Title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2" name="Title 1">
            <a:extLst>
              <a:ext uri="{FF2B5EF4-FFF2-40B4-BE49-F238E27FC236}">
                <a16:creationId xmlns:a16="http://schemas.microsoft.com/office/drawing/2014/main" id="{AF3E6DB4-7ADC-4B55-8AD8-3BA360268226}"/>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4" name="Picture 3">
            <a:extLst>
              <a:ext uri="{FF2B5EF4-FFF2-40B4-BE49-F238E27FC236}">
                <a16:creationId xmlns:a16="http://schemas.microsoft.com/office/drawing/2014/main" id="{D79F3D12-0829-4466-A8F8-35405B4F1E0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
        <p:nvSpPr>
          <p:cNvPr id="3" name="Foliennummernplatzhalter 2">
            <a:extLst>
              <a:ext uri="{FF2B5EF4-FFF2-40B4-BE49-F238E27FC236}">
                <a16:creationId xmlns:a16="http://schemas.microsoft.com/office/drawing/2014/main" id="{9B94C8E0-E39E-40CF-9F7E-CFC728DE09EC}"/>
              </a:ext>
            </a:extLst>
          </p:cNvPr>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3062488986"/>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Only Title | Dark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rgbClr val="33333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2" name="Title 1">
            <a:extLst>
              <a:ext uri="{FF2B5EF4-FFF2-40B4-BE49-F238E27FC236}">
                <a16:creationId xmlns:a16="http://schemas.microsoft.com/office/drawing/2014/main" id="{C815E00E-D6FB-4E33-8601-E8BA89784CED}"/>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12" name="Picture 11">
            <a:extLst>
              <a:ext uri="{FF2B5EF4-FFF2-40B4-BE49-F238E27FC236}">
                <a16:creationId xmlns:a16="http://schemas.microsoft.com/office/drawing/2014/main" id="{40442036-1C04-47BC-98AD-23710B5C328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3096458375"/>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cSld name="Kapiteltrenner blau">
    <p:spTree>
      <p:nvGrpSpPr>
        <p:cNvPr id="1" name=""/>
        <p:cNvGrpSpPr/>
        <p:nvPr/>
      </p:nvGrpSpPr>
      <p:grpSpPr>
        <a:xfrm>
          <a:off x="0" y="0"/>
          <a:ext cx="0" cy="0"/>
          <a:chOff x="0" y="0"/>
          <a:chExt cx="0" cy="0"/>
        </a:xfrm>
      </p:grpSpPr>
      <p:pic>
        <p:nvPicPr>
          <p:cNvPr id="9" name="Grafik 8"/>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10.1.2019</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US">
                <a:solidFill>
                  <a:prstClr val="white"/>
                </a:solidFill>
              </a:rPr>
              <a:t>Introduction to Telemetry </a:t>
            </a:r>
            <a:endParaRPr lang="en-GB">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414" indent="-490414">
              <a:spcBef>
                <a:spcPts val="0"/>
              </a:spcBef>
              <a:buNone/>
              <a:defRPr sz="4400">
                <a:solidFill>
                  <a:schemeClr val="bg1"/>
                </a:solidFill>
                <a:latin typeface="+mj-lt"/>
              </a:defRPr>
            </a:lvl1pPr>
            <a:lvl2pPr marL="0" indent="-489476">
              <a:spcBef>
                <a:spcPts val="0"/>
              </a:spcBef>
              <a:buFont typeface="Arial" pitchFamily="34" charset="0"/>
              <a:buNone/>
              <a:defRPr sz="4400">
                <a:solidFill>
                  <a:schemeClr val="bg1"/>
                </a:solidFill>
              </a:defRPr>
            </a:lvl2pPr>
            <a:lvl3pPr marL="0" indent="-489476">
              <a:spcBef>
                <a:spcPts val="0"/>
              </a:spcBef>
              <a:buFont typeface="Arial" pitchFamily="34" charset="0"/>
              <a:buNone/>
              <a:defRPr sz="4400">
                <a:solidFill>
                  <a:schemeClr val="bg1"/>
                </a:solidFill>
              </a:defRPr>
            </a:lvl3pPr>
            <a:lvl4pPr marL="0" indent="0">
              <a:buNone/>
              <a:defRPr sz="4400"/>
            </a:lvl4pPr>
            <a:lvl5pPr marL="0" indent="-489476">
              <a:spcBef>
                <a:spcPts val="0"/>
              </a:spcBef>
              <a:buFont typeface="Arial" pitchFamily="34" charset="0"/>
              <a:buNone/>
              <a:defRPr sz="4400">
                <a:solidFill>
                  <a:schemeClr val="bg1"/>
                </a:solidFill>
              </a:defRPr>
            </a:lvl5pPr>
            <a:lvl6pPr marL="0" indent="-489476">
              <a:spcBef>
                <a:spcPts val="0"/>
              </a:spcBef>
              <a:buNone/>
              <a:defRPr sz="4400">
                <a:solidFill>
                  <a:schemeClr val="bg1"/>
                </a:solidFill>
              </a:defRPr>
            </a:lvl6pPr>
            <a:lvl7pPr marL="0" indent="-489476">
              <a:spcBef>
                <a:spcPts val="0"/>
              </a:spcBef>
              <a:buNone/>
              <a:defRPr sz="4400">
                <a:solidFill>
                  <a:schemeClr val="bg1"/>
                </a:solidFill>
              </a:defRPr>
            </a:lvl7pPr>
            <a:lvl8pPr marL="0" indent="-489476">
              <a:spcBef>
                <a:spcPts val="0"/>
              </a:spcBef>
              <a:buNone/>
              <a:defRPr sz="4400">
                <a:solidFill>
                  <a:schemeClr val="bg1"/>
                </a:solidFill>
              </a:defRPr>
            </a:lvl8pPr>
            <a:lvl9pPr marL="0" indent="-489476">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p:nvSpPr>
        <p:spPr bwMode="gray">
          <a:xfrm flipV="1">
            <a:off x="1198493"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7" name="Line 8"/>
          <p:cNvSpPr>
            <a:spLocks noChangeShapeType="1"/>
          </p:cNvSpPr>
          <p:nvPr/>
        </p:nvSpPr>
        <p:spPr bwMode="gray">
          <a:xfrm flipV="1">
            <a:off x="1198493"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10" name="Line 9"/>
          <p:cNvSpPr>
            <a:spLocks noChangeShapeType="1"/>
          </p:cNvSpPr>
          <p:nvPr/>
        </p:nvSpPr>
        <p:spPr bwMode="gray">
          <a:xfrm>
            <a:off x="1156759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11" name="Line 13"/>
          <p:cNvSpPr>
            <a:spLocks noChangeShapeType="1"/>
          </p:cNvSpPr>
          <p:nvPr/>
        </p:nvSpPr>
        <p:spPr bwMode="gray">
          <a:xfrm>
            <a:off x="1156759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pic>
        <p:nvPicPr>
          <p:cNvPr id="14" name="Grafik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22538999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2"/>
            <a:ext cx="10464800" cy="1152525"/>
          </a:xfrm>
          <a:prstGeom prst="rect">
            <a:avLst/>
          </a:prstGeom>
        </p:spPr>
        <p:txBody>
          <a:bodyPr/>
          <a:lstStyle/>
          <a:p>
            <a:r>
              <a:rPr lang="de-DE" noProof="0"/>
              <a:t>Mastertitelformat bearbeiten</a:t>
            </a:r>
          </a:p>
        </p:txBody>
      </p:sp>
      <p:sp>
        <p:nvSpPr>
          <p:cNvPr id="5" name="Datumsplatzhalter 4"/>
          <p:cNvSpPr>
            <a:spLocks noGrp="1"/>
          </p:cNvSpPr>
          <p:nvPr>
            <p:ph type="dt" sz="half" idx="10"/>
          </p:nvPr>
        </p:nvSpPr>
        <p:spPr bwMode="gray"/>
        <p:txBody>
          <a:bodyPr/>
          <a:lstStyle>
            <a:lvl1pPr>
              <a:defRPr/>
            </a:lvl1pPr>
          </a:lstStyle>
          <a:p>
            <a:r>
              <a:rPr lang="de-DE"/>
              <a:t>10.1.2019</a:t>
            </a:r>
            <a:endParaRPr lang="de-CH"/>
          </a:p>
        </p:txBody>
      </p:sp>
      <p:sp>
        <p:nvSpPr>
          <p:cNvPr id="6" name="Foliennummernplatzhalter 5"/>
          <p:cNvSpPr>
            <a:spLocks noGrp="1"/>
          </p:cNvSpPr>
          <p:nvPr>
            <p:ph type="sldNum" sz="quarter" idx="11"/>
          </p:nvPr>
        </p:nvSpPr>
        <p:spPr bwMode="gray"/>
        <p:txBody>
          <a:bodyPr/>
          <a:lstStyle>
            <a:lvl1pPr>
              <a:defRPr/>
            </a:lvl1pPr>
          </a:lstStyle>
          <a:p>
            <a:fld id="{09E9E80D-70AF-457A-95FA-A9D03F861920}" type="slidenum">
              <a:rPr lang="de-CH" smtClean="0"/>
              <a:t>‹#›</a:t>
            </a:fld>
            <a:endParaRPr lang="de-CH"/>
          </a:p>
        </p:txBody>
      </p:sp>
      <p:sp>
        <p:nvSpPr>
          <p:cNvPr id="7" name="Fußzeilenplatzhalter 6"/>
          <p:cNvSpPr>
            <a:spLocks noGrp="1"/>
          </p:cNvSpPr>
          <p:nvPr>
            <p:ph type="ftr" sz="quarter" idx="12"/>
          </p:nvPr>
        </p:nvSpPr>
        <p:spPr bwMode="gray"/>
        <p:txBody>
          <a:bodyPr/>
          <a:lstStyle>
            <a:lvl1pPr>
              <a:defRPr/>
            </a:lvl1pPr>
          </a:lstStyle>
          <a:p>
            <a:r>
              <a:rPr lang="en-US"/>
              <a:t>Introduction to Telemetry </a:t>
            </a:r>
            <a:endParaRPr lang="de-CH"/>
          </a:p>
        </p:txBody>
      </p:sp>
      <p:sp>
        <p:nvSpPr>
          <p:cNvPr id="8" name="Inhaltsplatzhalter 7"/>
          <p:cNvSpPr>
            <a:spLocks noGrp="1"/>
          </p:cNvSpPr>
          <p:nvPr>
            <p:ph sz="quarter" idx="17"/>
          </p:nvPr>
        </p:nvSpPr>
        <p:spPr>
          <a:xfrm>
            <a:off x="1200151" y="1773241"/>
            <a:ext cx="4800600" cy="20878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3" name="Inhaltsplatzhalter 7"/>
          <p:cNvSpPr>
            <a:spLocks noGrp="1"/>
          </p:cNvSpPr>
          <p:nvPr>
            <p:ph sz="quarter" idx="18"/>
          </p:nvPr>
        </p:nvSpPr>
        <p:spPr>
          <a:xfrm>
            <a:off x="6191251" y="1773241"/>
            <a:ext cx="4800600" cy="20878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6" name="Inhaltsplatzhalter 7"/>
          <p:cNvSpPr>
            <a:spLocks noGrp="1"/>
          </p:cNvSpPr>
          <p:nvPr>
            <p:ph sz="quarter" idx="19"/>
          </p:nvPr>
        </p:nvSpPr>
        <p:spPr>
          <a:xfrm>
            <a:off x="1200151" y="4005064"/>
            <a:ext cx="4800600" cy="201622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7" name="Inhaltsplatzhalter 7"/>
          <p:cNvSpPr>
            <a:spLocks noGrp="1"/>
          </p:cNvSpPr>
          <p:nvPr>
            <p:ph sz="quarter" idx="20"/>
          </p:nvPr>
        </p:nvSpPr>
        <p:spPr>
          <a:xfrm>
            <a:off x="6191251" y="4005064"/>
            <a:ext cx="4800600" cy="201622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70797847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Tree>
    <p:extLst>
      <p:ext uri="{BB962C8B-B14F-4D97-AF65-F5344CB8AC3E}">
        <p14:creationId xmlns:p14="http://schemas.microsoft.com/office/powerpoint/2010/main" val="3552449200"/>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0034A0F2-D3A6-41CD-94FA-346F3252FA64}"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Introduction to Telemetry </a:t>
            </a:r>
          </a:p>
        </p:txBody>
      </p:sp>
    </p:spTree>
    <p:extLst>
      <p:ext uri="{BB962C8B-B14F-4D97-AF65-F5344CB8AC3E}">
        <p14:creationId xmlns:p14="http://schemas.microsoft.com/office/powerpoint/2010/main" val="2978160840"/>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9"/>
            <a:ext cx="11653835" cy="896519"/>
          </a:xfrm>
        </p:spPr>
        <p:txBody>
          <a:bodyPr/>
          <a:lstStyle>
            <a:lvl1pPr>
              <a:defRPr sz="4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49"/>
            <a:ext cx="10757097" cy="1831701"/>
          </a:xfrm>
        </p:spPr>
        <p:txBody>
          <a:bodyPr/>
          <a:lstStyle>
            <a:lvl1pPr>
              <a:defRPr sz="2100">
                <a:gradFill>
                  <a:gsLst>
                    <a:gs pos="1250">
                      <a:schemeClr val="tx1"/>
                    </a:gs>
                    <a:gs pos="100000">
                      <a:schemeClr val="tx1"/>
                    </a:gs>
                  </a:gsLst>
                  <a:lin ang="5400000" scaled="0"/>
                </a:gradFill>
                <a:latin typeface="+mn-lt"/>
              </a:defRPr>
            </a:lvl1pPr>
            <a:lvl2pPr>
              <a:defRPr sz="2000"/>
            </a:lvl2pPr>
            <a:lvl3pPr>
              <a:defRPr sz="16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260278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Security classification | C2 internal</a:t>
            </a:r>
          </a:p>
        </p:txBody>
      </p:sp>
    </p:spTree>
    <p:extLst>
      <p:ext uri="{BB962C8B-B14F-4D97-AF65-F5344CB8AC3E}">
        <p14:creationId xmlns:p14="http://schemas.microsoft.com/office/powerpoint/2010/main" val="3549498998"/>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863318882"/>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7" name="Bildplatzhalter 8"/>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black">
          <a:xfrm>
            <a:off x="1199456" y="333375"/>
            <a:ext cx="8208000" cy="323900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8" name="Text Placeholder 4">
            <a:extLst>
              <a:ext uri="{FF2B5EF4-FFF2-40B4-BE49-F238E27FC236}">
                <a16:creationId xmlns:a16="http://schemas.microsoft.com/office/drawing/2014/main" id="{E1DE48AB-B208-4189-8089-DC7BC55579D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Security classification | C2 internal</a:t>
            </a:r>
          </a:p>
        </p:txBody>
      </p:sp>
    </p:spTree>
    <p:extLst>
      <p:ext uri="{BB962C8B-B14F-4D97-AF65-F5344CB8AC3E}">
        <p14:creationId xmlns:p14="http://schemas.microsoft.com/office/powerpoint/2010/main" val="2824361325"/>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7C4B535-EC52-4CF4-B9BE-3BC9700663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603279" y="1484313"/>
            <a:ext cx="8109296" cy="4897438"/>
          </a:xfrm>
          <a:prstGeom prst="rect">
            <a:avLst/>
          </a:prstGeom>
        </p:spPr>
      </p:pic>
      <p:pic>
        <p:nvPicPr>
          <p:cNvPr id="5" name="Picture 4">
            <a:extLst>
              <a:ext uri="{FF2B5EF4-FFF2-40B4-BE49-F238E27FC236}">
                <a16:creationId xmlns:a16="http://schemas.microsoft.com/office/drawing/2014/main" id="{D87113FC-C0DE-475B-B48F-F341EA6D3B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268689" y="5122052"/>
            <a:ext cx="234000" cy="1259276"/>
          </a:xfrm>
          <a:prstGeom prst="rect">
            <a:avLst/>
          </a:prstGeom>
        </p:spPr>
      </p:pic>
      <p:sp>
        <p:nvSpPr>
          <p:cNvPr id="2" name="Titel 1"/>
          <p:cNvSpPr>
            <a:spLocks noGrp="1"/>
          </p:cNvSpPr>
          <p:nvPr>
            <p:ph type="ctrTitle" hasCustomPrompt="1"/>
          </p:nvPr>
        </p:nvSpPr>
        <p:spPr bwMode="black">
          <a:xfrm>
            <a:off x="1199456" y="333375"/>
            <a:ext cx="8208000" cy="323892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912"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a:p>
            <a:endParaRPr lang="en-GB"/>
          </a:p>
        </p:txBody>
      </p:sp>
      <p:sp>
        <p:nvSpPr>
          <p:cNvPr id="6" name="Text Placeholder 4">
            <a:extLst>
              <a:ext uri="{FF2B5EF4-FFF2-40B4-BE49-F238E27FC236}">
                <a16:creationId xmlns:a16="http://schemas.microsoft.com/office/drawing/2014/main" id="{C88788FE-2FC8-4F5B-B883-59F33B86B1FA}"/>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Security classification | C2 internal</a:t>
            </a:r>
          </a:p>
        </p:txBody>
      </p:sp>
    </p:spTree>
    <p:extLst>
      <p:ext uri="{BB962C8B-B14F-4D97-AF65-F5344CB8AC3E}">
        <p14:creationId xmlns:p14="http://schemas.microsoft.com/office/powerpoint/2010/main" val="3414357196"/>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932D0D-2845-4C0F-8A35-71A52A42FF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12000" y="936000"/>
            <a:ext cx="9900000" cy="5568750"/>
          </a:xfrm>
          <a:prstGeom prst="rect">
            <a:avLst/>
          </a:prstGeom>
          <a:ln>
            <a:noFill/>
          </a:ln>
        </p:spPr>
      </p:pic>
      <p:sp>
        <p:nvSpPr>
          <p:cNvPr id="2" name="Titel 1"/>
          <p:cNvSpPr>
            <a:spLocks noGrp="1"/>
          </p:cNvSpPr>
          <p:nvPr>
            <p:ph type="title" hasCustomPrompt="1"/>
          </p:nvPr>
        </p:nvSpPr>
        <p:spPr bwMode="black">
          <a:xfrm>
            <a:off x="1199456" y="1484313"/>
            <a:ext cx="8208000" cy="2160711"/>
          </a:xfrm>
        </p:spPr>
        <p:txBody>
          <a:bodyPr lIns="0" tIns="0" bIns="50400" anchor="b"/>
          <a:lstStyle>
            <a:lvl1pPr>
              <a:lnSpc>
                <a:spcPct val="90000"/>
              </a:lnSpc>
              <a:defRPr sz="4400" b="1" spc="-50" baseline="0">
                <a:solidFill>
                  <a:schemeClr val="bg2"/>
                </a:solidFill>
                <a:latin typeface="+mj-lt"/>
              </a:defRPr>
            </a:lvl1pPr>
          </a:lstStyle>
          <a:p>
            <a:r>
              <a:rPr lang="en-GB"/>
              <a:t>Divider</a:t>
            </a:r>
          </a:p>
        </p:txBody>
      </p:sp>
      <p:sp>
        <p:nvSpPr>
          <p:cNvPr id="3" name="Textplatzhalter 2"/>
          <p:cNvSpPr>
            <a:spLocks noGrp="1"/>
          </p:cNvSpPr>
          <p:nvPr>
            <p:ph type="body" idx="1" hasCustomPrompt="1"/>
          </p:nvPr>
        </p:nvSpPr>
        <p:spPr bwMode="black">
          <a:xfrm>
            <a:off x="1200026" y="3717032"/>
            <a:ext cx="8208000" cy="1872556"/>
          </a:xfrm>
        </p:spPr>
        <p:txBody>
          <a:bodyPr lIns="0"/>
          <a:lstStyle>
            <a:lvl1pPr marL="0" indent="0">
              <a:lnSpc>
                <a:spcPct val="110000"/>
              </a:lnSpc>
              <a:spcBef>
                <a:spcPts val="0"/>
              </a:spcBef>
              <a:spcAft>
                <a:spcPts val="0"/>
              </a:spcAft>
              <a:buNone/>
              <a:defRPr sz="2000" b="0" spc="-50" baseline="0">
                <a:solidFill>
                  <a:schemeClr val="bg2"/>
                </a:solidFill>
                <a:latin typeface="+mn-lt"/>
              </a:defRPr>
            </a:lvl1pPr>
            <a:lvl2pPr marL="0" indent="0">
              <a:lnSpc>
                <a:spcPct val="110000"/>
              </a:lnSpc>
              <a:spcBef>
                <a:spcPts val="0"/>
              </a:spcBef>
              <a:spcAft>
                <a:spcPts val="0"/>
              </a:spcAft>
              <a:buNone/>
              <a:defRPr sz="2000" b="0" spc="-50" baseline="0">
                <a:solidFill>
                  <a:schemeClr val="bg2"/>
                </a:solidFill>
                <a:latin typeface="+mn-lt"/>
              </a:defRPr>
            </a:lvl2pPr>
            <a:lvl3pPr marL="0" indent="0">
              <a:lnSpc>
                <a:spcPct val="110000"/>
              </a:lnSpc>
              <a:spcBef>
                <a:spcPts val="0"/>
              </a:spcBef>
              <a:spcAft>
                <a:spcPts val="0"/>
              </a:spcAft>
              <a:buNone/>
              <a:defRPr sz="2000" b="0" spc="-50" baseline="0">
                <a:solidFill>
                  <a:schemeClr val="bg2"/>
                </a:solidFill>
                <a:latin typeface="+mn-lt"/>
              </a:defRPr>
            </a:lvl3pPr>
            <a:lvl4pPr marL="0" indent="0">
              <a:lnSpc>
                <a:spcPct val="110000"/>
              </a:lnSpc>
              <a:spcBef>
                <a:spcPts val="0"/>
              </a:spcBef>
              <a:spcAft>
                <a:spcPts val="0"/>
              </a:spcAft>
              <a:buNone/>
              <a:defRPr sz="2000" b="0" spc="-50" baseline="0">
                <a:solidFill>
                  <a:schemeClr val="bg2"/>
                </a:solidFill>
                <a:latin typeface="+mn-lt"/>
              </a:defRPr>
            </a:lvl4pPr>
            <a:lvl5pPr marL="0" indent="0">
              <a:lnSpc>
                <a:spcPct val="110000"/>
              </a:lnSpc>
              <a:spcBef>
                <a:spcPts val="0"/>
              </a:spcBef>
              <a:spcAft>
                <a:spcPts val="0"/>
              </a:spcAft>
              <a:buNone/>
              <a:defRPr sz="2000" b="0" spc="-50" baseline="0">
                <a:solidFill>
                  <a:schemeClr val="bg2"/>
                </a:solidFill>
                <a:latin typeface="+mn-lt"/>
              </a:defRPr>
            </a:lvl5pPr>
            <a:lvl6pPr marL="0" indent="0">
              <a:lnSpc>
                <a:spcPct val="110000"/>
              </a:lnSpc>
              <a:spcBef>
                <a:spcPts val="0"/>
              </a:spcBef>
              <a:spcAft>
                <a:spcPts val="0"/>
              </a:spcAft>
              <a:buNone/>
              <a:defRPr sz="2000" b="0" spc="-50" baseline="0">
                <a:solidFill>
                  <a:schemeClr val="bg2"/>
                </a:solidFill>
                <a:latin typeface="+mn-lt"/>
              </a:defRPr>
            </a:lvl6pPr>
            <a:lvl7pPr marL="0" indent="0">
              <a:lnSpc>
                <a:spcPct val="110000"/>
              </a:lnSpc>
              <a:spcBef>
                <a:spcPts val="0"/>
              </a:spcBef>
              <a:spcAft>
                <a:spcPts val="0"/>
              </a:spcAft>
              <a:buNone/>
              <a:defRPr sz="2000" b="0" spc="-50" baseline="0">
                <a:solidFill>
                  <a:schemeClr val="bg2"/>
                </a:solidFill>
                <a:latin typeface="+mn-lt"/>
              </a:defRPr>
            </a:lvl7pPr>
            <a:lvl8pPr marL="0" indent="0">
              <a:lnSpc>
                <a:spcPct val="110000"/>
              </a:lnSpc>
              <a:spcBef>
                <a:spcPts val="0"/>
              </a:spcBef>
              <a:spcAft>
                <a:spcPts val="0"/>
              </a:spcAft>
              <a:buNone/>
              <a:defRPr sz="2000" b="0" spc="-50" baseline="0">
                <a:solidFill>
                  <a:schemeClr val="bg2"/>
                </a:solidFill>
                <a:latin typeface="+mn-lt"/>
              </a:defRPr>
            </a:lvl8pPr>
            <a:lvl9pPr marL="0" indent="0">
              <a:lnSpc>
                <a:spcPct val="110000"/>
              </a:lnSpc>
              <a:spcBef>
                <a:spcPts val="0"/>
              </a:spcBef>
              <a:spcAft>
                <a:spcPts val="0"/>
              </a:spcAft>
              <a:buNone/>
              <a:defRPr sz="2000" b="0" spc="-50" baseline="0">
                <a:solidFill>
                  <a:schemeClr val="bg2"/>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a:xfrm rot="16200000">
            <a:off x="-1645334" y="3392999"/>
            <a:ext cx="4105278" cy="287903"/>
          </a:xfrm>
        </p:spPr>
        <p:txBody>
          <a:bodyPr/>
          <a:lstStyle>
            <a:lvl1pPr>
              <a:defRPr>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tx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258470678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vider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 name="Titel 1"/>
          <p:cNvSpPr>
            <a:spLocks noGrp="1"/>
          </p:cNvSpPr>
          <p:nvPr>
            <p:ph type="title" hasCustomPrompt="1"/>
          </p:nvPr>
        </p:nvSpPr>
        <p:spPr bwMode="gray">
          <a:xfrm>
            <a:off x="1199456" y="1484313"/>
            <a:ext cx="8208000" cy="2160711"/>
          </a:xfrm>
        </p:spPr>
        <p:txBody>
          <a:bodyPr tIns="0" bIns="50400" anchor="b"/>
          <a:lstStyle>
            <a:lvl1pPr>
              <a:lnSpc>
                <a:spcPct val="90000"/>
              </a:lnSpc>
              <a:defRPr sz="4400" b="1" spc="-50" baseline="0">
                <a:solidFill>
                  <a:schemeClr val="bg1"/>
                </a:solidFill>
                <a:latin typeface="+mj-lt"/>
              </a:defRPr>
            </a:lvl1pPr>
          </a:lstStyle>
          <a:p>
            <a:r>
              <a:rPr lang="en-GB"/>
              <a:t>Divider</a:t>
            </a:r>
          </a:p>
        </p:txBody>
      </p:sp>
      <p:sp>
        <p:nvSpPr>
          <p:cNvPr id="3" name="Textplatzhalter 2"/>
          <p:cNvSpPr>
            <a:spLocks noGrp="1"/>
          </p:cNvSpPr>
          <p:nvPr>
            <p:ph type="body" idx="1" hasCustomPrompt="1"/>
          </p:nvPr>
        </p:nvSpPr>
        <p:spPr bwMode="gray">
          <a:xfrm>
            <a:off x="1200026" y="3717032"/>
            <a:ext cx="8208000" cy="1872208"/>
          </a:xfrm>
        </p:spPr>
        <p:txBody>
          <a:bodyPr/>
          <a:lstStyle>
            <a:lvl1pPr marL="0" indent="0">
              <a:spcBef>
                <a:spcPts val="0"/>
              </a:spcBef>
              <a:spcAft>
                <a:spcPts val="0"/>
              </a:spcAft>
              <a:buNone/>
              <a:defRPr sz="2000" b="0" spc="-50" baseline="0">
                <a:solidFill>
                  <a:schemeClr val="bg1"/>
                </a:solidFill>
                <a:latin typeface="+mn-lt"/>
              </a:defRPr>
            </a:lvl1pPr>
            <a:lvl2pPr marL="0" indent="0">
              <a:spcBef>
                <a:spcPts val="0"/>
              </a:spcBef>
              <a:spcAft>
                <a:spcPts val="0"/>
              </a:spcAft>
              <a:buNone/>
              <a:defRPr sz="2000" b="0" spc="-50" baseline="0">
                <a:solidFill>
                  <a:schemeClr val="bg1"/>
                </a:solidFill>
                <a:latin typeface="+mn-lt"/>
              </a:defRPr>
            </a:lvl2pPr>
            <a:lvl3pPr marL="0" indent="0">
              <a:spcBef>
                <a:spcPts val="0"/>
              </a:spcBef>
              <a:spcAft>
                <a:spcPts val="0"/>
              </a:spcAft>
              <a:buNone/>
              <a:defRPr sz="2000" b="0" spc="-50" baseline="0">
                <a:solidFill>
                  <a:schemeClr val="bg1"/>
                </a:solidFill>
                <a:latin typeface="+mn-lt"/>
              </a:defRPr>
            </a:lvl3pPr>
            <a:lvl4pPr marL="0" indent="0">
              <a:spcBef>
                <a:spcPts val="0"/>
              </a:spcBef>
              <a:spcAft>
                <a:spcPts val="0"/>
              </a:spcAft>
              <a:buNone/>
              <a:defRPr sz="2000" b="0" spc="-50" baseline="0">
                <a:solidFill>
                  <a:schemeClr val="bg1"/>
                </a:solidFill>
                <a:latin typeface="+mn-lt"/>
              </a:defRPr>
            </a:lvl4pPr>
            <a:lvl5pPr marL="0" indent="0">
              <a:spcBef>
                <a:spcPts val="0"/>
              </a:spcBef>
              <a:spcAft>
                <a:spcPts val="0"/>
              </a:spcAft>
              <a:buNone/>
              <a:defRPr sz="2000" b="0" spc="-50" baseline="0">
                <a:solidFill>
                  <a:schemeClr val="bg1"/>
                </a:solidFill>
                <a:latin typeface="+mn-lt"/>
              </a:defRPr>
            </a:lvl5pPr>
            <a:lvl6pPr marL="0" indent="0">
              <a:spcBef>
                <a:spcPts val="0"/>
              </a:spcBef>
              <a:spcAft>
                <a:spcPts val="0"/>
              </a:spcAft>
              <a:buNone/>
              <a:defRPr sz="2000" b="0" spc="-50" baseline="0">
                <a:solidFill>
                  <a:schemeClr val="bg1"/>
                </a:solidFill>
                <a:latin typeface="+mn-lt"/>
              </a:defRPr>
            </a:lvl6pPr>
            <a:lvl7pPr marL="0" indent="0">
              <a:spcBef>
                <a:spcPts val="0"/>
              </a:spcBef>
              <a:spcAft>
                <a:spcPts val="0"/>
              </a:spcAft>
              <a:buNone/>
              <a:defRPr sz="2000" b="0" spc="-50" baseline="0">
                <a:solidFill>
                  <a:schemeClr val="bg1"/>
                </a:solidFill>
                <a:latin typeface="+mn-lt"/>
              </a:defRPr>
            </a:lvl7pPr>
            <a:lvl8pPr marL="0" indent="0">
              <a:spcBef>
                <a:spcPts val="0"/>
              </a:spcBef>
              <a:spcAft>
                <a:spcPts val="0"/>
              </a:spcAft>
              <a:buNone/>
              <a:defRPr sz="2000" b="0" spc="-50" baseline="0">
                <a:solidFill>
                  <a:schemeClr val="bg1"/>
                </a:solidFill>
                <a:latin typeface="+mn-lt"/>
              </a:defRPr>
            </a:lvl8pPr>
            <a:lvl9pPr marL="0" indent="0">
              <a:spcBef>
                <a:spcPts val="0"/>
              </a:spcBef>
              <a:spcAft>
                <a:spcPts val="0"/>
              </a:spcAft>
              <a:buNone/>
              <a:defRPr sz="2000" b="0" spc="-50" baseline="0">
                <a:solidFill>
                  <a:schemeClr val="bg1"/>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pic>
        <p:nvPicPr>
          <p:cNvPr id="9" name="Picture 8">
            <a:extLst>
              <a:ext uri="{FF2B5EF4-FFF2-40B4-BE49-F238E27FC236}">
                <a16:creationId xmlns:a16="http://schemas.microsoft.com/office/drawing/2014/main" id="{3105E948-0429-4BA5-BE6A-0FB567FE170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1596179446"/>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orking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
        <p:nvSpPr>
          <p:cNvPr id="13" name="Inhaltsplatzhalter 2">
            <a:extLst>
              <a:ext uri="{FF2B5EF4-FFF2-40B4-BE49-F238E27FC236}">
                <a16:creationId xmlns:a16="http://schemas.microsoft.com/office/drawing/2014/main" id="{56772B1F-B86A-452C-8BEE-2355B59EA550}"/>
              </a:ext>
            </a:extLst>
          </p:cNvPr>
          <p:cNvSpPr>
            <a:spLocks noGrp="1"/>
          </p:cNvSpPr>
          <p:nvPr>
            <p:ph idx="16" hasCustomPrompt="1"/>
          </p:nvPr>
        </p:nvSpPr>
        <p:spPr bwMode="black">
          <a:xfrm>
            <a:off x="66000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2852377987"/>
      </p:ext>
    </p:extLst>
  </p:cSld>
  <p:clrMapOvr>
    <a:masterClrMapping/>
  </p:clrMapOvr>
  <p:extLst>
    <p:ext uri="{DCECCB84-F9BA-43D5-87BE-67443E8EF086}">
      <p15:sldGuideLst xmlns:p15="http://schemas.microsoft.com/office/powerpoint/2012/main">
        <p15:guide id="1" pos="3976">
          <p15:clr>
            <a:srgbClr val="547EBF"/>
          </p15:clr>
        </p15:guide>
        <p15:guide id="2" pos="4158">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Working | Content Pictur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3940"/>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5112000" cy="720000"/>
          </a:xfrm>
        </p:spPr>
        <p:txBody>
          <a:bodyPr tIns="28800"/>
          <a:lstStyle>
            <a:lvl1pPr>
              <a:defRPr/>
            </a:lvl1pPr>
          </a:lstStyle>
          <a:p>
            <a:r>
              <a:rPr lang="en-GB"/>
              <a:t>Click to edit title</a:t>
            </a:r>
          </a:p>
        </p:txBody>
      </p:sp>
      <p:sp>
        <p:nvSpPr>
          <p:cNvPr id="14" name="Bildplatzhalter 8">
            <a:extLst>
              <a:ext uri="{FF2B5EF4-FFF2-40B4-BE49-F238E27FC236}">
                <a16:creationId xmlns:a16="http://schemas.microsoft.com/office/drawing/2014/main" id="{09E298D1-1B8A-48BA-B429-C8DD2EAF64A9}"/>
              </a:ext>
            </a:extLst>
          </p:cNvPr>
          <p:cNvSpPr>
            <a:spLocks noGrp="1"/>
          </p:cNvSpPr>
          <p:nvPr>
            <p:ph type="pic" sz="quarter" idx="13" hasCustomPrompt="1"/>
          </p:nvPr>
        </p:nvSpPr>
        <p:spPr bwMode="gray">
          <a:xfrm>
            <a:off x="6600825" y="0"/>
            <a:ext cx="5591175"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Tree>
    <p:extLst>
      <p:ext uri="{BB962C8B-B14F-4D97-AF65-F5344CB8AC3E}">
        <p14:creationId xmlns:p14="http://schemas.microsoft.com/office/powerpoint/2010/main" val="2924831103"/>
      </p:ext>
    </p:extLst>
  </p:cSld>
  <p:clrMapOvr>
    <a:masterClrMapping/>
  </p:clrMapOvr>
  <p:extLst>
    <p:ext uri="{DCECCB84-F9BA-43D5-87BE-67443E8EF086}">
      <p15:sldGuideLst xmlns:p15="http://schemas.microsoft.com/office/powerpoint/2012/main">
        <p15:guide id="2" pos="3976">
          <p15:clr>
            <a:srgbClr val="547EBF"/>
          </p15:clr>
        </p15:guide>
        <p15:guide id="3" pos="4158">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resentation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5" y="3716610"/>
            <a:ext cx="105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4"/>
            <a:endParaRPr lang="en-GB"/>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2348880"/>
            <a:ext cx="10512000" cy="1224136"/>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226646112"/>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2341">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resentation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0"/>
            <a:endParaRPr lang="en-GB"/>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8" y="2348880"/>
            <a:ext cx="5112000" cy="1223714"/>
          </a:xfrm>
        </p:spPr>
        <p:txBody>
          <a:bodyPr bIns="28800" anchor="b"/>
          <a:lstStyle>
            <a:lvl1pPr>
              <a:lnSpc>
                <a:spcPct val="90000"/>
              </a:lnSpc>
              <a:defRPr sz="3200" spc="-50" baseline="0">
                <a:latin typeface="+mj-lt"/>
              </a:defRPr>
            </a:lvl1pPr>
          </a:lstStyle>
          <a:p>
            <a:r>
              <a:rPr lang="en-GB"/>
              <a:t>Click to edit title</a:t>
            </a:r>
          </a:p>
        </p:txBody>
      </p:sp>
      <p:sp>
        <p:nvSpPr>
          <p:cNvPr id="9" name="Inhaltsplatzhalter 2">
            <a:extLst>
              <a:ext uri="{FF2B5EF4-FFF2-40B4-BE49-F238E27FC236}">
                <a16:creationId xmlns:a16="http://schemas.microsoft.com/office/drawing/2014/main" id="{461ED10A-0495-4A89-BA52-79C00234B56E}"/>
              </a:ext>
            </a:extLst>
          </p:cNvPr>
          <p:cNvSpPr>
            <a:spLocks noGrp="1"/>
          </p:cNvSpPr>
          <p:nvPr>
            <p:ph idx="16" hasCustomPrompt="1"/>
          </p:nvPr>
        </p:nvSpPr>
        <p:spPr bwMode="gray">
          <a:xfrm>
            <a:off x="6600825" y="0"/>
            <a:ext cx="5591175" cy="6858000"/>
          </a:xfrm>
          <a:noFill/>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 </a:t>
            </a:r>
          </a:p>
        </p:txBody>
      </p:sp>
    </p:spTree>
    <p:extLst>
      <p:ext uri="{BB962C8B-B14F-4D97-AF65-F5344CB8AC3E}">
        <p14:creationId xmlns:p14="http://schemas.microsoft.com/office/powerpoint/2010/main" val="1654684505"/>
      </p:ext>
    </p:extLst>
  </p:cSld>
  <p:clrMapOvr>
    <a:masterClrMapping/>
  </p:clrMapOvr>
  <p:extLst>
    <p:ext uri="{DCECCB84-F9BA-43D5-87BE-67443E8EF086}">
      <p15:sldGuideLst xmlns:p15="http://schemas.microsoft.com/office/powerpoint/2012/main">
        <p15:guide id="1" orient="horz" pos="2160">
          <p15:clr>
            <a:srgbClr val="547EBF"/>
          </p15:clr>
        </p15:guide>
        <p15:guide id="2" pos="3976">
          <p15:clr>
            <a:srgbClr val="547EBF"/>
          </p15:clr>
        </p15:guide>
        <p15:guide id="3" pos="4158">
          <p15:clr>
            <a:srgbClr val="547EBF"/>
          </p15:clr>
        </p15:guide>
        <p15:guide id="4" orient="horz" pos="233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Normale Inhaltssei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p:txBody>
          <a:bodyPr/>
          <a:lstStyle>
            <a:lvl1pPr fontAlgn="auto">
              <a:spcBef>
                <a:spcPts val="0"/>
              </a:spcBef>
              <a:spcAft>
                <a:spcPts val="0"/>
              </a:spcAft>
              <a:defRPr>
                <a:cs typeface="+mn-cs"/>
              </a:defRPr>
            </a:lvl1pPr>
          </a:lstStyle>
          <a:p>
            <a:pPr>
              <a:defRPr/>
            </a:pPr>
            <a:endParaRPr lang="en-GB"/>
          </a:p>
        </p:txBody>
      </p:sp>
      <p:sp>
        <p:nvSpPr>
          <p:cNvPr id="5" name="Rectangle 6"/>
          <p:cNvSpPr>
            <a:spLocks noGrp="1" noChangeArrowheads="1"/>
          </p:cNvSpPr>
          <p:nvPr>
            <p:ph type="sldNum" sz="quarter" idx="11"/>
          </p:nvPr>
        </p:nvSpPr>
        <p:spPr/>
        <p:txBody>
          <a:bodyPr/>
          <a:lstStyle>
            <a:lvl1pPr>
              <a:defRPr/>
            </a:lvl1pPr>
          </a:lstStyle>
          <a:p>
            <a:fld id="{C10D1357-C544-4E8D-8602-6414198CD50C}"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cs typeface="+mn-cs"/>
              </a:defRPr>
            </a:lvl1pPr>
          </a:lstStyle>
          <a:p>
            <a:pPr>
              <a:defRPr/>
            </a:pPr>
            <a:r>
              <a:rPr lang="de-CH"/>
              <a:t>Swisscom IT Services - „Wo stehen wir heute, wo wollen wir hin?“ </a:t>
            </a:r>
            <a:endParaRPr lang="en-GB"/>
          </a:p>
        </p:txBody>
      </p:sp>
    </p:spTree>
    <p:extLst>
      <p:ext uri="{BB962C8B-B14F-4D97-AF65-F5344CB8AC3E}">
        <p14:creationId xmlns:p14="http://schemas.microsoft.com/office/powerpoint/2010/main" val="86610351"/>
      </p:ext>
    </p:extLst>
  </p:cSld>
  <p:clrMapOvr>
    <a:masterClrMapping/>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resentation | Content Picture">
    <p:spTree>
      <p:nvGrpSpPr>
        <p:cNvPr id="1" name=""/>
        <p:cNvGrpSpPr/>
        <p:nvPr/>
      </p:nvGrpSpPr>
      <p:grpSpPr>
        <a:xfrm>
          <a:off x="0" y="0"/>
          <a:ext cx="0" cy="0"/>
          <a:chOff x="0" y="0"/>
          <a:chExt cx="0" cy="0"/>
        </a:xfrm>
      </p:grpSpPr>
      <p:sp>
        <p:nvSpPr>
          <p:cNvPr id="7" name="Bildplatzhalter 8">
            <a:extLst>
              <a:ext uri="{FF2B5EF4-FFF2-40B4-BE49-F238E27FC236}">
                <a16:creationId xmlns:a16="http://schemas.microsoft.com/office/drawing/2014/main" id="{2E310726-F0F9-435D-B724-F278EC72901D}"/>
              </a:ext>
            </a:extLst>
          </p:cNvPr>
          <p:cNvSpPr>
            <a:spLocks noGrp="1"/>
          </p:cNvSpPr>
          <p:nvPr>
            <p:ph type="pic" sz="quarter" idx="13" hasCustomPrompt="1"/>
          </p:nvPr>
        </p:nvSpPr>
        <p:spPr bwMode="gray">
          <a:xfrm>
            <a:off x="1199456" y="0"/>
            <a:ext cx="4536504"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3" name="Inhaltsplatzhalter 2"/>
          <p:cNvSpPr>
            <a:spLocks noGrp="1"/>
          </p:cNvSpPr>
          <p:nvPr>
            <p:ph idx="1" hasCustomPrompt="1"/>
          </p:nvPr>
        </p:nvSpPr>
        <p:spPr bwMode="black">
          <a:xfrm>
            <a:off x="66000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6600057" y="2348880"/>
            <a:ext cx="5112000" cy="1223714"/>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2162843379"/>
      </p:ext>
    </p:extLst>
  </p:cSld>
  <p:clrMapOvr>
    <a:masterClrMapping/>
  </p:clrMapOvr>
  <p:extLst>
    <p:ext uri="{DCECCB84-F9BA-43D5-87BE-67443E8EF086}">
      <p15:sldGuideLst xmlns:p15="http://schemas.microsoft.com/office/powerpoint/2012/main">
        <p15:guide id="1" orient="horz" pos="2160">
          <p15:clr>
            <a:srgbClr val="547EBF"/>
          </p15:clr>
        </p15:guide>
        <p15:guide id="2" pos="4158">
          <p15:clr>
            <a:srgbClr val="547EBF"/>
          </p15:clr>
        </p15:guide>
        <p15:guide id="3" pos="3613">
          <p15:clr>
            <a:srgbClr val="547EBF"/>
          </p15:clr>
        </p15:guide>
        <p15:guide id="4" orient="horz" pos="2341">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12192000"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6" name="Fußzeilenplatzhalter 5"/>
          <p:cNvSpPr>
            <a:spLocks noGrp="1"/>
          </p:cNvSpPr>
          <p:nvPr>
            <p:ph type="ftr" sz="quarter" idx="11"/>
          </p:nvPr>
        </p:nvSpPr>
        <p:spPr bwMode="black"/>
        <p:txBody>
          <a:bodyPr/>
          <a:lstStyle>
            <a:lvl1pPr>
              <a:defRPr>
                <a:solidFill>
                  <a:schemeClr val="tx1"/>
                </a:solidFill>
              </a:defRPr>
            </a:lvl1pPr>
          </a:lstStyle>
          <a:p>
            <a:r>
              <a:rPr lang="en-GB"/>
              <a:t>Author, Date, Presentation title, C0 classification</a:t>
            </a:r>
          </a:p>
        </p:txBody>
      </p:sp>
      <p:sp>
        <p:nvSpPr>
          <p:cNvPr id="7" name="Foliennummernplatzhalter 6"/>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11" name="Text Placeholder 5">
            <a:extLst>
              <a:ext uri="{FF2B5EF4-FFF2-40B4-BE49-F238E27FC236}">
                <a16:creationId xmlns:a16="http://schemas.microsoft.com/office/drawing/2014/main" id="{3C7B15AF-35F6-4342-BFFD-60CEF2991A69}"/>
              </a:ext>
            </a:extLst>
          </p:cNvPr>
          <p:cNvSpPr>
            <a:spLocks noGrp="1"/>
          </p:cNvSpPr>
          <p:nvPr>
            <p:ph type="body" sz="quarter" idx="15" hasCustomPrompt="1"/>
          </p:nvPr>
        </p:nvSpPr>
        <p:spPr bwMode="gray">
          <a:xfrm>
            <a:off x="255600" y="360000"/>
            <a:ext cx="342000" cy="460800"/>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le 1">
            <a:extLst>
              <a:ext uri="{FF2B5EF4-FFF2-40B4-BE49-F238E27FC236}">
                <a16:creationId xmlns:a16="http://schemas.microsoft.com/office/drawing/2014/main" id="{50C0A1EC-77F3-4323-93F3-DA7A757DE205}"/>
              </a:ext>
            </a:extLst>
          </p:cNvPr>
          <p:cNvSpPr>
            <a:spLocks noGrp="1"/>
          </p:cNvSpPr>
          <p:nvPr>
            <p:ph type="title" hasCustomPrompt="1"/>
          </p:nvPr>
        </p:nvSpPr>
        <p:spPr bwMode="black">
          <a:xfrm>
            <a:off x="1199456" y="3933056"/>
            <a:ext cx="5183882" cy="1656000"/>
          </a:xfrm>
        </p:spPr>
        <p:txBody>
          <a:bodyPr tIns="0"/>
          <a:lstStyle>
            <a:lvl1pPr>
              <a:lnSpc>
                <a:spcPct val="90000"/>
              </a:lnSpc>
              <a:defRPr sz="3200"/>
            </a:lvl1pPr>
          </a:lstStyle>
          <a:p>
            <a:pPr lvl="0"/>
            <a:r>
              <a:rPr lang="en-GB"/>
              <a:t>Click to edit text</a:t>
            </a:r>
          </a:p>
        </p:txBody>
      </p:sp>
    </p:spTree>
    <p:extLst>
      <p:ext uri="{BB962C8B-B14F-4D97-AF65-F5344CB8AC3E}">
        <p14:creationId xmlns:p14="http://schemas.microsoft.com/office/powerpoint/2010/main" val="280205935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7" name="Grafik 2">
            <a:extLst>
              <a:ext uri="{FF2B5EF4-FFF2-40B4-BE49-F238E27FC236}">
                <a16:creationId xmlns:a16="http://schemas.microsoft.com/office/drawing/2014/main" id="{31CCA9A7-7392-474F-A97C-4FFD1536D6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828" r="-3007"/>
          <a:stretch/>
        </p:blipFill>
        <p:spPr>
          <a:xfrm>
            <a:off x="1203657" y="0"/>
            <a:ext cx="4640315" cy="6858000"/>
          </a:xfrm>
          <a:prstGeom prst="rect">
            <a:avLst/>
          </a:prstGeom>
          <a:ln>
            <a:noFill/>
          </a:ln>
        </p:spPr>
      </p:pic>
      <p:sp>
        <p:nvSpPr>
          <p:cNvPr id="5" name="Fußzeilenplatzhalter 4"/>
          <p:cNvSpPr>
            <a:spLocks noGrp="1"/>
          </p:cNvSpPr>
          <p:nvPr>
            <p:ph type="ftr" sz="quarter" idx="11"/>
          </p:nvPr>
        </p:nvSpPr>
        <p:spPr bwMode="black"/>
        <p:txBody>
          <a:bodyPr/>
          <a:lstStyle>
            <a:lvl1pPr>
              <a:defRPr>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9" name="Text Placeholder 10">
            <a:extLst>
              <a:ext uri="{FF2B5EF4-FFF2-40B4-BE49-F238E27FC236}">
                <a16:creationId xmlns:a16="http://schemas.microsoft.com/office/drawing/2014/main" id="{5D46F054-5B83-4656-A174-AFA2194CAC8D}"/>
              </a:ext>
            </a:extLst>
          </p:cNvPr>
          <p:cNvSpPr>
            <a:spLocks noGrp="1"/>
          </p:cNvSpPr>
          <p:nvPr>
            <p:ph type="body" sz="quarter" idx="15" hasCustomPrompt="1"/>
          </p:nvPr>
        </p:nvSpPr>
        <p:spPr bwMode="black">
          <a:xfrm>
            <a:off x="1199456" y="1484313"/>
            <a:ext cx="5112000" cy="4897437"/>
          </a:xfrm>
        </p:spPr>
        <p:txBody>
          <a:bodyPr l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1619788641"/>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act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11" name="Text Placeholder 10">
            <a:extLst>
              <a:ext uri="{FF2B5EF4-FFF2-40B4-BE49-F238E27FC236}">
                <a16:creationId xmlns:a16="http://schemas.microsoft.com/office/drawing/2014/main" id="{E96BEA9E-AA8A-4009-9F77-9A844B163972}"/>
              </a:ext>
            </a:extLst>
          </p:cNvPr>
          <p:cNvSpPr>
            <a:spLocks noGrp="1"/>
          </p:cNvSpPr>
          <p:nvPr>
            <p:ph type="body" sz="quarter" idx="15" hasCustomPrompt="1"/>
          </p:nvPr>
        </p:nvSpPr>
        <p:spPr bwMode="gray">
          <a:xfrm>
            <a:off x="1199456" y="1484313"/>
            <a:ext cx="5112000" cy="48974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pic>
        <p:nvPicPr>
          <p:cNvPr id="9" name="Picture 8">
            <a:extLst>
              <a:ext uri="{FF2B5EF4-FFF2-40B4-BE49-F238E27FC236}">
                <a16:creationId xmlns:a16="http://schemas.microsoft.com/office/drawing/2014/main" id="{478744BB-555F-45E2-92B2-3298A462DB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1120458560"/>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5"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96081610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Only Title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2" name="Title 1">
            <a:extLst>
              <a:ext uri="{FF2B5EF4-FFF2-40B4-BE49-F238E27FC236}">
                <a16:creationId xmlns:a16="http://schemas.microsoft.com/office/drawing/2014/main" id="{AF3E6DB4-7ADC-4B55-8AD8-3BA360268226}"/>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4" name="Picture 3">
            <a:extLst>
              <a:ext uri="{FF2B5EF4-FFF2-40B4-BE49-F238E27FC236}">
                <a16:creationId xmlns:a16="http://schemas.microsoft.com/office/drawing/2014/main" id="{D79F3D12-0829-4466-A8F8-35405B4F1E0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
        <p:nvSpPr>
          <p:cNvPr id="3" name="Foliennummernplatzhalter 2">
            <a:extLst>
              <a:ext uri="{FF2B5EF4-FFF2-40B4-BE49-F238E27FC236}">
                <a16:creationId xmlns:a16="http://schemas.microsoft.com/office/drawing/2014/main" id="{9B94C8E0-E39E-40CF-9F7E-CFC728DE09EC}"/>
              </a:ext>
            </a:extLst>
          </p:cNvPr>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41911009"/>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Only Title | Dark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rgbClr val="33333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2" name="Title 1">
            <a:extLst>
              <a:ext uri="{FF2B5EF4-FFF2-40B4-BE49-F238E27FC236}">
                <a16:creationId xmlns:a16="http://schemas.microsoft.com/office/drawing/2014/main" id="{C815E00E-D6FB-4E33-8601-E8BA89784CED}"/>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12" name="Picture 11">
            <a:extLst>
              <a:ext uri="{FF2B5EF4-FFF2-40B4-BE49-F238E27FC236}">
                <a16:creationId xmlns:a16="http://schemas.microsoft.com/office/drawing/2014/main" id="{40442036-1C04-47BC-98AD-23710B5C328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2678143327"/>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Tree>
    <p:extLst>
      <p:ext uri="{BB962C8B-B14F-4D97-AF65-F5344CB8AC3E}">
        <p14:creationId xmlns:p14="http://schemas.microsoft.com/office/powerpoint/2010/main" val="224416574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E0F35-0AE7-48AB-9005-F1DB4BD0B473}"/>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DDD4022-C31F-4C4C-B5BF-5F9730C08A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A45EE9-11D3-436C-9D73-1AA6CCDB165F}"/>
              </a:ext>
            </a:extLst>
          </p:cNvPr>
          <p:cNvSpPr>
            <a:spLocks noGrp="1"/>
          </p:cNvSpPr>
          <p:nvPr>
            <p:ph type="dt" sz="half" idx="10"/>
          </p:nvPr>
        </p:nvSpPr>
        <p:spPr/>
        <p:txBody>
          <a:bodyPr/>
          <a:lstStyle/>
          <a:p>
            <a:fld id="{2F3AF3C6-0FD4-4939-991C-00DDE5C56815}" type="datetime2">
              <a:rPr lang="en-US" smtClean="0"/>
              <a:t>Thursday, March 21, 2024</a:t>
            </a:fld>
            <a:endParaRPr lang="en-US"/>
          </a:p>
        </p:txBody>
      </p:sp>
      <p:sp>
        <p:nvSpPr>
          <p:cNvPr id="5" name="Footer Placeholder 4">
            <a:extLst>
              <a:ext uri="{FF2B5EF4-FFF2-40B4-BE49-F238E27FC236}">
                <a16:creationId xmlns:a16="http://schemas.microsoft.com/office/drawing/2014/main" id="{92817DCF-881F-4956-81AE-A6D27A88F4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65F17-AD75-4B7E-970D-5D4DBD5D170C}"/>
              </a:ext>
            </a:extLst>
          </p:cNvPr>
          <p:cNvSpPr>
            <a:spLocks noGrp="1"/>
          </p:cNvSpPr>
          <p:nvPr>
            <p:ph type="sldNum" sz="quarter" idx="12"/>
          </p:nvPr>
        </p:nvSpPr>
        <p:spPr/>
        <p:txBody>
          <a:bodyPr/>
          <a:lstStyle/>
          <a:p>
            <a:fld id="{C01389E6-C847-4AD0-B56D-D205B2EAB1EE}" type="slidenum">
              <a:rPr lang="en-US" smtClean="0"/>
              <a:t>‹#›</a:t>
            </a:fld>
            <a:endParaRPr lang="en-US"/>
          </a:p>
        </p:txBody>
      </p:sp>
    </p:spTree>
    <p:extLst>
      <p:ext uri="{BB962C8B-B14F-4D97-AF65-F5344CB8AC3E}">
        <p14:creationId xmlns:p14="http://schemas.microsoft.com/office/powerpoint/2010/main" val="1869945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Foliennummernplatzhalter 2"/>
          <p:cNvSpPr>
            <a:spLocks noGrp="1"/>
          </p:cNvSpPr>
          <p:nvPr>
            <p:ph type="sldNum" sz="quarter" idx="10"/>
          </p:nvPr>
        </p:nvSpPr>
        <p:spPr/>
        <p:txBody>
          <a:bodyPr/>
          <a:lstStyle/>
          <a:p>
            <a:pPr>
              <a:defRPr/>
            </a:pPr>
            <a:fld id="{EB90B452-A44A-4E43-95CC-332CC049A783}" type="slidenum">
              <a:rPr lang="de-DE" altLang="de-DE" smtClean="0"/>
              <a:pPr>
                <a:defRPr/>
              </a:pPr>
              <a:t>‹#›</a:t>
            </a:fld>
            <a:endParaRPr lang="de-DE" altLang="de-DE"/>
          </a:p>
        </p:txBody>
      </p:sp>
      <p:sp>
        <p:nvSpPr>
          <p:cNvPr id="5" name="Inhaltsplatzhalter 4"/>
          <p:cNvSpPr>
            <a:spLocks noGrp="1"/>
          </p:cNvSpPr>
          <p:nvPr>
            <p:ph sz="quarter" idx="11"/>
          </p:nvPr>
        </p:nvSpPr>
        <p:spPr>
          <a:xfrm>
            <a:off x="1200150" y="1700809"/>
            <a:ext cx="9792395" cy="460923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640276066"/>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506" y="285"/>
            <a:ext cx="12190993" cy="6857435"/>
          </a:xfrm>
          <a:prstGeom prst="rect">
            <a:avLst/>
          </a:prstGeom>
        </p:spPr>
      </p:pic>
      <p:sp>
        <p:nvSpPr>
          <p:cNvPr id="2" name="Titel 1"/>
          <p:cNvSpPr>
            <a:spLocks noGrp="1"/>
          </p:cNvSpPr>
          <p:nvPr>
            <p:ph type="ctrTitle"/>
          </p:nvPr>
        </p:nvSpPr>
        <p:spPr bwMode="gray">
          <a:xfrm>
            <a:off x="1200155" y="1773247"/>
            <a:ext cx="8736276" cy="1584327"/>
          </a:xfrm>
          <a:prstGeom prst="rect">
            <a:avLst/>
          </a:prstGeom>
        </p:spPr>
        <p:txBody>
          <a:bodyPr bIns="126000" anchor="b"/>
          <a:lstStyle>
            <a:lvl1pPr marL="0" indent="0">
              <a:lnSpc>
                <a:spcPct val="90000"/>
              </a:lnSpc>
              <a:defRPr/>
            </a:lvl1pPr>
          </a:lstStyle>
          <a:p>
            <a:r>
              <a:rPr lang="en-US"/>
              <a:t>Click to edit Master title style</a:t>
            </a:r>
            <a:endParaRPr lang="en-GB"/>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16560" y="5652279"/>
            <a:ext cx="1728000" cy="958960"/>
          </a:xfrm>
          <a:prstGeom prst="rect">
            <a:avLst/>
          </a:prstGeom>
        </p:spPr>
      </p:pic>
      <p:sp>
        <p:nvSpPr>
          <p:cNvPr id="9" name="Line 11"/>
          <p:cNvSpPr>
            <a:spLocks noChangeShapeType="1"/>
          </p:cNvSpPr>
          <p:nvPr userDrawn="1"/>
        </p:nvSpPr>
        <p:spPr bwMode="gray">
          <a:xfrm>
            <a:off x="1200152" y="3357563"/>
            <a:ext cx="48958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3" name="Untertitel 2"/>
          <p:cNvSpPr>
            <a:spLocks noGrp="1"/>
          </p:cNvSpPr>
          <p:nvPr>
            <p:ph type="subTitle" idx="1"/>
          </p:nvPr>
        </p:nvSpPr>
        <p:spPr bwMode="gray">
          <a:xfrm>
            <a:off x="1200151" y="3573467"/>
            <a:ext cx="4895848" cy="1223689"/>
          </a:xfrm>
          <a:prstGeom prst="rect">
            <a:avLst/>
          </a:prstGeom>
        </p:spPr>
        <p:txBody>
          <a:bodyPr/>
          <a:lstStyle>
            <a:lvl1pPr marL="0" indent="0" algn="l">
              <a:spcBef>
                <a:spcPts val="288"/>
              </a:spcBef>
              <a:buNone/>
              <a:defRPr sz="1200">
                <a:solidFill>
                  <a:schemeClr val="tx1"/>
                </a:solidFill>
              </a:defRPr>
            </a:lvl1pPr>
            <a:lvl2pPr marL="3175" indent="0" algn="l">
              <a:buNone/>
              <a:defRPr sz="1200">
                <a:solidFill>
                  <a:schemeClr val="tx1"/>
                </a:solidFill>
              </a:defRPr>
            </a:lvl2pPr>
            <a:lvl3pPr marL="3175" indent="0" algn="l">
              <a:buNone/>
              <a:defRPr sz="1200">
                <a:solidFill>
                  <a:schemeClr val="tx1"/>
                </a:solidFill>
              </a:defRPr>
            </a:lvl3pPr>
            <a:lvl4pPr marL="3175" indent="0" algn="l">
              <a:buNone/>
              <a:defRPr sz="1200">
                <a:solidFill>
                  <a:schemeClr val="tx1"/>
                </a:solidFill>
              </a:defRPr>
            </a:lvl4pPr>
            <a:lvl5pPr marL="3175" indent="0" algn="l">
              <a:buNone/>
              <a:defRPr sz="1200">
                <a:solidFill>
                  <a:schemeClr val="tx1"/>
                </a:solidFill>
              </a:defRPr>
            </a:lvl5pPr>
            <a:lvl6pPr marL="3175" indent="0" algn="l">
              <a:buNone/>
              <a:defRPr sz="1200">
                <a:solidFill>
                  <a:schemeClr val="tx1"/>
                </a:solidFill>
              </a:defRPr>
            </a:lvl6pPr>
            <a:lvl7pPr marL="3175" indent="0" algn="l">
              <a:buNone/>
              <a:defRPr sz="1200">
                <a:solidFill>
                  <a:schemeClr val="tx1"/>
                </a:solidFill>
              </a:defRPr>
            </a:lvl7pPr>
            <a:lvl8pPr marL="3175" indent="0" algn="l">
              <a:buNone/>
              <a:defRPr sz="1200">
                <a:solidFill>
                  <a:schemeClr val="tx1"/>
                </a:solidFill>
              </a:defRPr>
            </a:lvl8pPr>
            <a:lvl9pPr marL="3175" indent="0" algn="l">
              <a:buNone/>
              <a:defRPr sz="1200">
                <a:solidFill>
                  <a:schemeClr val="tx1"/>
                </a:solidFill>
              </a:defRPr>
            </a:lvl9pPr>
          </a:lstStyle>
          <a:p>
            <a:pPr lvl="0"/>
            <a:r>
              <a:rPr lang="en-US"/>
              <a:t>Click to edit Master subtitle style</a:t>
            </a:r>
            <a:endParaRPr lang="de-DE"/>
          </a:p>
        </p:txBody>
      </p:sp>
    </p:spTree>
    <p:extLst>
      <p:ext uri="{BB962C8B-B14F-4D97-AF65-F5344CB8AC3E}">
        <p14:creationId xmlns:p14="http://schemas.microsoft.com/office/powerpoint/2010/main" val="23539035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tIns="0" rIns="0" bIns="108000"/>
          <a:lstStyle>
            <a:lvl1pPr marL="490538" indent="-490538">
              <a:defRPr>
                <a:latin typeface="+mj-lt"/>
              </a:defRPr>
            </a:lvl1pPr>
          </a:lstStyle>
          <a:p>
            <a:r>
              <a:rPr lang="en-US"/>
              <a:t>Click to edit Master title style</a:t>
            </a:r>
            <a:endParaRPr lang="en-GB"/>
          </a:p>
        </p:txBody>
      </p:sp>
      <p:sp>
        <p:nvSpPr>
          <p:cNvPr id="3" name="Inhaltsplatzhalter 2"/>
          <p:cNvSpPr>
            <a:spLocks noGrp="1"/>
          </p:cNvSpPr>
          <p:nvPr>
            <p:ph idx="1"/>
          </p:nvPr>
        </p:nvSpPr>
        <p:spPr bwMode="gray">
          <a:xfrm>
            <a:off x="1200153" y="1772770"/>
            <a:ext cx="9791700" cy="4248619"/>
          </a:xfrm>
          <a:prstGeom prst="rect">
            <a:avLst/>
          </a:prstGeom>
        </p:spPr>
        <p:txBody>
          <a:bodyPr/>
          <a:lstStyle>
            <a:lvl1pPr marL="182563" indent="-182563">
              <a:defRPr/>
            </a:lvl1pPr>
            <a:lvl2pPr marL="539750" indent="-182563">
              <a:defRPr/>
            </a:lvl2pPr>
            <a:lvl3pPr marL="898525" indent="-184150">
              <a:defRPr/>
            </a:lvl3pPr>
            <a:lvl4pPr marL="1255713" indent="-184150">
              <a:defRPr/>
            </a:lvl4pPr>
            <a:lvl5pPr marL="1612900" indent="-17462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umsplatzhalter 3"/>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5" name="Foliennummernplatzhalter 4"/>
          <p:cNvSpPr>
            <a:spLocks noGrp="1"/>
          </p:cNvSpPr>
          <p:nvPr>
            <p:ph type="sldNum" sz="quarter" idx="11"/>
          </p:nvPr>
        </p:nvSpPr>
        <p:spPr bwMode="gray"/>
        <p:txBody>
          <a:bodyPr/>
          <a:lstStyle>
            <a:lvl1pPr>
              <a:defRPr/>
            </a:lvl1pPr>
          </a:lstStyle>
          <a:p>
            <a:fld id="{C75F937F-578B-432D-B413-03DE4E4B2A9B}" type="slidenum">
              <a:rPr lang="en-GB">
                <a:solidFill>
                  <a:srgbClr val="001155"/>
                </a:solidFill>
              </a:rPr>
              <a:pPr/>
              <a:t>‹#›</a:t>
            </a:fld>
            <a:endParaRPr lang="en-GB">
              <a:solidFill>
                <a:srgbClr val="001155"/>
              </a:solidFill>
            </a:endParaRPr>
          </a:p>
        </p:txBody>
      </p:sp>
      <p:sp>
        <p:nvSpPr>
          <p:cNvPr id="6" name="Fußzeilenplatzhalter 5"/>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a:t>
            </a:r>
            <a:r>
              <a:rPr lang="en-GB" err="1">
                <a:solidFill>
                  <a:srgbClr val="001155"/>
                </a:solidFill>
              </a:rPr>
              <a:t>Filename_Version</a:t>
            </a:r>
            <a:endParaRPr lang="en-GB">
              <a:solidFill>
                <a:srgbClr val="001155"/>
              </a:solidFill>
            </a:endParaRPr>
          </a:p>
        </p:txBody>
      </p:sp>
    </p:spTree>
    <p:extLst>
      <p:ext uri="{BB962C8B-B14F-4D97-AF65-F5344CB8AC3E}">
        <p14:creationId xmlns:p14="http://schemas.microsoft.com/office/powerpoint/2010/main" val="244330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a:t>Click to edit Master title style</a:t>
            </a:r>
            <a:endParaRPr lang="en-GB"/>
          </a:p>
        </p:txBody>
      </p:sp>
      <p:sp>
        <p:nvSpPr>
          <p:cNvPr id="3" name="Inhaltsplatzhalter 2"/>
          <p:cNvSpPr>
            <a:spLocks noGrp="1"/>
          </p:cNvSpPr>
          <p:nvPr>
            <p:ph sz="half" idx="1"/>
          </p:nvPr>
        </p:nvSpPr>
        <p:spPr bwMode="gray">
          <a:xfrm>
            <a:off x="1200151" y="1773245"/>
            <a:ext cx="4799836"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Inhaltsplatzhalter 3"/>
          <p:cNvSpPr>
            <a:spLocks noGrp="1"/>
          </p:cNvSpPr>
          <p:nvPr>
            <p:ph sz="half" idx="2"/>
          </p:nvPr>
        </p:nvSpPr>
        <p:spPr bwMode="gray">
          <a:xfrm>
            <a:off x="6192014" y="1773245"/>
            <a:ext cx="4799837"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en-GB">
                <a:solidFill>
                  <a:srgbClr val="001155"/>
                </a:solidFill>
              </a:rPr>
              <a:pPr/>
              <a:t>‹#›</a:t>
            </a:fld>
            <a:endParaRPr lang="en-GB">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Tree>
    <p:extLst>
      <p:ext uri="{BB962C8B-B14F-4D97-AF65-F5344CB8AC3E}">
        <p14:creationId xmlns:p14="http://schemas.microsoft.com/office/powerpoint/2010/main" val="36883231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3" name="Inhaltsplatzhalter 2"/>
          <p:cNvSpPr>
            <a:spLocks noGrp="1"/>
          </p:cNvSpPr>
          <p:nvPr>
            <p:ph sz="half" idx="1"/>
          </p:nvPr>
        </p:nvSpPr>
        <p:spPr bwMode="gray">
          <a:xfrm>
            <a:off x="1200151" y="1773245"/>
            <a:ext cx="4799836"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9" name="Bildplatzhalter 8"/>
          <p:cNvSpPr>
            <a:spLocks noGrp="1"/>
          </p:cNvSpPr>
          <p:nvPr>
            <p:ph type="pic" sz="quarter" idx="13" hasCustomPrompt="1"/>
          </p:nvPr>
        </p:nvSpPr>
        <p:spPr bwMode="gray">
          <a:xfrm>
            <a:off x="6191251" y="1773245"/>
            <a:ext cx="4800600" cy="4248151"/>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31788200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und 3 Bilder">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3" name="Inhaltsplatzhalter 2"/>
          <p:cNvSpPr>
            <a:spLocks noGrp="1"/>
          </p:cNvSpPr>
          <p:nvPr>
            <p:ph sz="half" idx="1"/>
          </p:nvPr>
        </p:nvSpPr>
        <p:spPr bwMode="gray">
          <a:xfrm>
            <a:off x="1200151" y="1773239"/>
            <a:ext cx="4799836" cy="2303852"/>
          </a:xfrm>
          <a:prstGeom prst="rect">
            <a:avLst/>
          </a:prstGeom>
        </p:spPr>
        <p:txBody>
          <a:bodyPr/>
          <a:lstStyle>
            <a:lvl1pPr marL="0" indent="0">
              <a:buNone/>
              <a:defRPr sz="1200"/>
            </a:lvl1pPr>
            <a:lvl2pPr marL="182563" indent="-182563">
              <a:buClr>
                <a:schemeClr val="accent2"/>
              </a:buClr>
              <a:buFont typeface="Arial" pitchFamily="34" charset="0"/>
              <a:buChar char="•"/>
              <a:defRPr sz="1200"/>
            </a:lvl2pPr>
            <a:lvl3pPr marL="361950" indent="-184150">
              <a:defRPr sz="1200"/>
            </a:lvl3pPr>
            <a:lvl4pPr marL="536575" indent="-184150">
              <a:defRPr sz="1200"/>
            </a:lvl4pPr>
            <a:lvl5pPr marL="714375" indent="-182563">
              <a:defRPr sz="1200"/>
            </a:lvl5pPr>
            <a:lvl6pPr marL="714375" indent="-174625">
              <a:defRPr sz="1200"/>
            </a:lvl6pPr>
            <a:lvl7pPr marL="714375" indent="-174625">
              <a:defRPr sz="1200"/>
            </a:lvl7pPr>
            <a:lvl8pPr marL="714375" indent="-174625">
              <a:defRPr sz="1200"/>
            </a:lvl8pPr>
            <a:lvl9pPr marL="714375" indent="-174625">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9" name="Bildplatzhalter 8"/>
          <p:cNvSpPr>
            <a:spLocks noGrp="1"/>
          </p:cNvSpPr>
          <p:nvPr>
            <p:ph type="pic" sz="quarter" idx="13" hasCustomPrompt="1"/>
          </p:nvPr>
        </p:nvSpPr>
        <p:spPr bwMode="gray">
          <a:xfrm>
            <a:off x="6191251" y="1773239"/>
            <a:ext cx="4800600" cy="2303852"/>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0" name="Bildplatzhalter 8"/>
          <p:cNvSpPr>
            <a:spLocks noGrp="1"/>
          </p:cNvSpPr>
          <p:nvPr>
            <p:ph type="pic" sz="quarter" idx="14" hasCustomPrompt="1"/>
          </p:nvPr>
        </p:nvSpPr>
        <p:spPr bwMode="gray">
          <a:xfrm>
            <a:off x="4943840" y="4220565"/>
            <a:ext cx="604801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1" name="Bildplatzhalter 8"/>
          <p:cNvSpPr>
            <a:spLocks noGrp="1"/>
          </p:cNvSpPr>
          <p:nvPr>
            <p:ph type="pic" sz="quarter" idx="15" hasCustomPrompt="1"/>
          </p:nvPr>
        </p:nvSpPr>
        <p:spPr bwMode="gray">
          <a:xfrm>
            <a:off x="1196143" y="4220565"/>
            <a:ext cx="355567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4090099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8" name="Inhaltsplatzhalter 7"/>
          <p:cNvSpPr>
            <a:spLocks noGrp="1"/>
          </p:cNvSpPr>
          <p:nvPr>
            <p:ph sz="quarter" idx="17"/>
          </p:nvPr>
        </p:nvSpPr>
        <p:spPr>
          <a:xfrm>
            <a:off x="1200151" y="1773248"/>
            <a:ext cx="4800600" cy="208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Inhaltsplatzhalter 7"/>
          <p:cNvSpPr>
            <a:spLocks noGrp="1"/>
          </p:cNvSpPr>
          <p:nvPr>
            <p:ph sz="quarter" idx="18"/>
          </p:nvPr>
        </p:nvSpPr>
        <p:spPr>
          <a:xfrm>
            <a:off x="6191251" y="1773248"/>
            <a:ext cx="4800600" cy="208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Inhaltsplatzhalter 7"/>
          <p:cNvSpPr>
            <a:spLocks noGrp="1"/>
          </p:cNvSpPr>
          <p:nvPr>
            <p:ph sz="quarter" idx="19"/>
          </p:nvPr>
        </p:nvSpPr>
        <p:spPr>
          <a:xfrm>
            <a:off x="1200151" y="4005064"/>
            <a:ext cx="4800600" cy="2016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Inhaltsplatzhalter 7"/>
          <p:cNvSpPr>
            <a:spLocks noGrp="1"/>
          </p:cNvSpPr>
          <p:nvPr>
            <p:ph sz="quarter" idx="20"/>
          </p:nvPr>
        </p:nvSpPr>
        <p:spPr>
          <a:xfrm>
            <a:off x="6191251" y="4005064"/>
            <a:ext cx="4800600" cy="2016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619660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900360E6-E0D1-4DE3-B7EF-572E88BF987B}" type="datetime1">
              <a:rPr lang="de-CH"/>
              <a:pPr>
                <a:defRPr/>
              </a:pPr>
              <a:t>21.03.2024</a:t>
            </a:fld>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0034A0F2-D3A6-41CD-94FA-346F3252FA64}"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1214628970"/>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anzseitiges Bild">
    <p:spTree>
      <p:nvGrpSpPr>
        <p:cNvPr id="1" name=""/>
        <p:cNvGrpSpPr/>
        <p:nvPr/>
      </p:nvGrpSpPr>
      <p:grpSpPr>
        <a:xfrm>
          <a:off x="0" y="0"/>
          <a:ext cx="0" cy="0"/>
          <a:chOff x="0" y="0"/>
          <a:chExt cx="0" cy="0"/>
        </a:xfrm>
      </p:grpSpPr>
      <p:sp>
        <p:nvSpPr>
          <p:cNvPr id="10" name="Bildplatzhalter 8"/>
          <p:cNvSpPr>
            <a:spLocks noGrp="1"/>
          </p:cNvSpPr>
          <p:nvPr>
            <p:ph type="pic" sz="quarter" idx="14" hasCustomPrompt="1"/>
          </p:nvPr>
        </p:nvSpPr>
        <p:spPr bwMode="gray">
          <a:xfrm>
            <a:off x="0" y="0"/>
            <a:ext cx="12192000" cy="685800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20457940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a:t>Click to edit Master title style</a:t>
            </a:r>
            <a:endParaRPr lang="en-GB"/>
          </a:p>
        </p:txBody>
      </p:sp>
      <p:sp>
        <p:nvSpPr>
          <p:cNvPr id="3" name="Datumsplatzhalter 2"/>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4" name="Foliennummernplatzhalter 3"/>
          <p:cNvSpPr>
            <a:spLocks noGrp="1"/>
          </p:cNvSpPr>
          <p:nvPr>
            <p:ph type="sldNum" sz="quarter" idx="11"/>
          </p:nvPr>
        </p:nvSpPr>
        <p:spPr bwMode="gray"/>
        <p:txBody>
          <a:bodyPr/>
          <a:lstStyle>
            <a:lvl1pPr>
              <a:defRPr/>
            </a:lvl1pPr>
          </a:lstStyle>
          <a:p>
            <a:fld id="{C9256D23-CF6F-4568-8D84-AFC419FB7476}" type="slidenum">
              <a:rPr lang="en-GB">
                <a:solidFill>
                  <a:srgbClr val="001155"/>
                </a:solidFill>
              </a:rPr>
              <a:pPr/>
              <a:t>‹#›</a:t>
            </a:fld>
            <a:endParaRPr lang="en-GB">
              <a:solidFill>
                <a:srgbClr val="001155"/>
              </a:solidFill>
            </a:endParaRPr>
          </a:p>
        </p:txBody>
      </p:sp>
      <p:sp>
        <p:nvSpPr>
          <p:cNvPr id="5" name="Fußzeilenplatzhalter 4"/>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Tree>
    <p:extLst>
      <p:ext uri="{BB962C8B-B14F-4D97-AF65-F5344CB8AC3E}">
        <p14:creationId xmlns:p14="http://schemas.microsoft.com/office/powerpoint/2010/main" val="18190765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en-GB">
                <a:solidFill>
                  <a:srgbClr val="001155"/>
                </a:solidFill>
              </a:rPr>
              <a:pPr/>
              <a:t>‹#›</a:t>
            </a:fld>
            <a:endParaRPr lang="en-GB">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
        <p:nvSpPr>
          <p:cNvPr id="6" name="Line 13"/>
          <p:cNvSpPr>
            <a:spLocks noChangeShapeType="1"/>
          </p:cNvSpPr>
          <p:nvPr userDrawn="1"/>
        </p:nvSpPr>
        <p:spPr bwMode="gray">
          <a:xfrm>
            <a:off x="11567604"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7" name="Line 8"/>
          <p:cNvSpPr>
            <a:spLocks noChangeShapeType="1"/>
          </p:cNvSpPr>
          <p:nvPr userDrawn="1"/>
        </p:nvSpPr>
        <p:spPr bwMode="gray">
          <a:xfrm flipV="1">
            <a:off x="11569718"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Tree>
    <p:extLst>
      <p:ext uri="{BB962C8B-B14F-4D97-AF65-F5344CB8AC3E}">
        <p14:creationId xmlns:p14="http://schemas.microsoft.com/office/powerpoint/2010/main" val="13206030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en-GB">
                <a:solidFill>
                  <a:srgbClr val="001155"/>
                </a:solidFill>
              </a:rPr>
              <a:pPr/>
              <a:t>‹#›</a:t>
            </a:fld>
            <a:endParaRPr lang="en-GB">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latin typeface="+mj-lt"/>
              </a:defRPr>
            </a:lvl1pPr>
            <a:lvl2pPr marL="536575" indent="-489600">
              <a:spcBef>
                <a:spcPts val="0"/>
              </a:spcBef>
              <a:buFont typeface="Arial" pitchFamily="34" charset="0"/>
              <a:buNone/>
              <a:defRPr sz="4400"/>
            </a:lvl2pPr>
            <a:lvl3pPr marL="536575" indent="-489600">
              <a:spcBef>
                <a:spcPts val="0"/>
              </a:spcBef>
              <a:buFont typeface="Arial" pitchFamily="34" charset="0"/>
              <a:buNone/>
              <a:defRPr sz="4400"/>
            </a:lvl3pPr>
            <a:lvl4pPr marL="0" indent="0">
              <a:buNone/>
              <a:defRPr sz="4400"/>
            </a:lvl4pPr>
            <a:lvl5pPr marL="536575" indent="-489600">
              <a:spcBef>
                <a:spcPts val="0"/>
              </a:spcBef>
              <a:buFont typeface="Arial" pitchFamily="34" charset="0"/>
              <a:buNone/>
              <a:defRPr sz="4400"/>
            </a:lvl5pPr>
            <a:lvl6pPr marL="536575" indent="-489600">
              <a:spcBef>
                <a:spcPts val="0"/>
              </a:spcBef>
              <a:buNone/>
              <a:defRPr sz="4400"/>
            </a:lvl6pPr>
            <a:lvl7pPr marL="536575" indent="-489600">
              <a:spcBef>
                <a:spcPts val="0"/>
              </a:spcBef>
              <a:buNone/>
              <a:defRPr sz="4400"/>
            </a:lvl7pPr>
            <a:lvl8pPr marL="536575" indent="-489600">
              <a:spcBef>
                <a:spcPts val="0"/>
              </a:spcBef>
              <a:buNone/>
              <a:defRPr sz="4400"/>
            </a:lvl8pPr>
            <a:lvl9pPr marL="536575" indent="-489600">
              <a:spcBef>
                <a:spcPts val="0"/>
              </a:spcBef>
              <a:buNone/>
              <a:defRPr sz="4400"/>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Tree>
    <p:extLst>
      <p:ext uri="{BB962C8B-B14F-4D97-AF65-F5344CB8AC3E}">
        <p14:creationId xmlns:p14="http://schemas.microsoft.com/office/powerpoint/2010/main" val="33620373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apiteltrenner blau">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28484192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Kapiteltrenner ro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33140822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p:spTree>
      <p:nvGrpSpPr>
        <p:cNvPr id="1" name=""/>
        <p:cNvGrpSpPr/>
        <p:nvPr/>
      </p:nvGrpSpPr>
      <p:grpSpPr>
        <a:xfrm>
          <a:off x="0" y="0"/>
          <a:ext cx="0" cy="0"/>
          <a:chOff x="0" y="0"/>
          <a:chExt cx="0" cy="0"/>
        </a:xfrm>
      </p:grpSpPr>
      <p:sp>
        <p:nvSpPr>
          <p:cNvPr id="17" name="Bildplatzhalter 16"/>
          <p:cNvSpPr>
            <a:spLocks noGrp="1"/>
          </p:cNvSpPr>
          <p:nvPr>
            <p:ph type="pic" sz="quarter" idx="16" hasCustomPrompt="1"/>
          </p:nvPr>
        </p:nvSpPr>
        <p:spPr bwMode="gray">
          <a:xfrm>
            <a:off x="0" y="0"/>
            <a:ext cx="12192000" cy="6858000"/>
          </a:xfrm>
          <a:prstGeom prst="rect">
            <a:avLst/>
          </a:prstGeom>
        </p:spPr>
        <p:txBody>
          <a:bodyPr anchor="ctr"/>
          <a:lstStyle>
            <a:lvl1pPr marL="0" indent="0" algn="ctr">
              <a:buNone/>
              <a:defRPr sz="100"/>
            </a:lvl1pPr>
          </a:lstStyle>
          <a:p>
            <a:r>
              <a:rPr lang="de-CH" noProof="0"/>
              <a:t>Platzieren Sie hier ein Bild</a:t>
            </a:r>
          </a:p>
        </p:txBody>
      </p:sp>
      <p:sp>
        <p:nvSpPr>
          <p:cNvPr id="8" name="Textplatzhalter 7"/>
          <p:cNvSpPr>
            <a:spLocks noGrp="1"/>
          </p:cNvSpPr>
          <p:nvPr>
            <p:ph type="body" sz="quarter" idx="13"/>
          </p:nvPr>
        </p:nvSpPr>
        <p:spPr bwMode="gray">
          <a:xfrm>
            <a:off x="527057" y="1412875"/>
            <a:ext cx="5568951" cy="1944688"/>
          </a:xfrm>
          <a:prstGeom prst="rect">
            <a:avLst/>
          </a:prstGeom>
        </p:spPr>
        <p:txBody>
          <a:bodyPr bIns="0" anchor="ctr"/>
          <a:lstStyle>
            <a:lvl1pPr marL="490538" indent="-490538">
              <a:spcBef>
                <a:spcPts val="0"/>
              </a:spcBef>
              <a:buNone/>
              <a:defRPr sz="4400">
                <a:solidFill>
                  <a:schemeClr val="tx1"/>
                </a:solidFill>
                <a:latin typeface="+mj-lt"/>
              </a:defRPr>
            </a:lvl1pPr>
            <a:lvl2pPr marL="0" indent="-489600">
              <a:spcBef>
                <a:spcPts val="0"/>
              </a:spcBef>
              <a:buFont typeface="Arial" pitchFamily="34" charset="0"/>
              <a:buNone/>
              <a:defRPr sz="4400"/>
            </a:lvl2pPr>
            <a:lvl3pPr marL="0" indent="-489600">
              <a:spcBef>
                <a:spcPts val="0"/>
              </a:spcBef>
              <a:buFont typeface="Arial" pitchFamily="34" charset="0"/>
              <a:buNone/>
              <a:defRPr sz="4400"/>
            </a:lvl3pPr>
            <a:lvl4pPr marL="0" indent="0">
              <a:buNone/>
              <a:defRPr sz="4400"/>
            </a:lvl4pPr>
            <a:lvl5pPr marL="0" indent="-489600">
              <a:spcBef>
                <a:spcPts val="0"/>
              </a:spcBef>
              <a:buFont typeface="Arial" pitchFamily="34" charset="0"/>
              <a:buNone/>
              <a:defRPr sz="4400"/>
            </a:lvl5pPr>
            <a:lvl6pPr marL="0" indent="-489600">
              <a:spcBef>
                <a:spcPts val="0"/>
              </a:spcBef>
              <a:buNone/>
              <a:defRPr sz="4400"/>
            </a:lvl6pPr>
            <a:lvl7pPr marL="0" indent="-489600">
              <a:spcBef>
                <a:spcPts val="0"/>
              </a:spcBef>
              <a:buNone/>
              <a:defRPr sz="4400"/>
            </a:lvl7pPr>
            <a:lvl8pPr marL="0" indent="-489600">
              <a:spcBef>
                <a:spcPts val="0"/>
              </a:spcBef>
              <a:buNone/>
              <a:defRPr sz="4400"/>
            </a:lvl8pPr>
            <a:lvl9pPr marL="0" indent="-489600">
              <a:spcBef>
                <a:spcPts val="0"/>
              </a:spcBef>
              <a:buNone/>
              <a:defRPr sz="4400"/>
            </a:lvl9pPr>
          </a:lstStyle>
          <a:p>
            <a:pPr lvl="0"/>
            <a:r>
              <a:rPr lang="en-US"/>
              <a:t>Click to edit Master text styles</a:t>
            </a:r>
          </a:p>
        </p:txBody>
      </p:sp>
      <p:sp>
        <p:nvSpPr>
          <p:cNvPr id="15" name="Textplatzhalter 14"/>
          <p:cNvSpPr>
            <a:spLocks noGrp="1"/>
          </p:cNvSpPr>
          <p:nvPr>
            <p:ph type="body" sz="quarter" idx="15"/>
          </p:nvPr>
        </p:nvSpPr>
        <p:spPr bwMode="gray">
          <a:xfrm>
            <a:off x="1198034" y="3860810"/>
            <a:ext cx="4897967" cy="1368425"/>
          </a:xfrm>
          <a:prstGeom prst="rect">
            <a:avLst/>
          </a:prstGeom>
        </p:spPr>
        <p:txBody>
          <a:bodyPr/>
          <a:lstStyle>
            <a:lvl1pPr marL="0" inden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p:txBody>
      </p:sp>
      <p:sp>
        <p:nvSpPr>
          <p:cNvPr id="19" name="Bildplatzhalter 18"/>
          <p:cNvSpPr>
            <a:spLocks noGrp="1"/>
          </p:cNvSpPr>
          <p:nvPr>
            <p:ph type="pic" sz="quarter" idx="17" hasCustomPrompt="1"/>
          </p:nvPr>
        </p:nvSpPr>
        <p:spPr bwMode="gray">
          <a:xfrm>
            <a:off x="1209617" y="1407959"/>
            <a:ext cx="4876800" cy="3600"/>
          </a:xfrm>
          <a:prstGeom prst="rect">
            <a:avLst/>
          </a:prstGeom>
          <a:solidFill>
            <a:schemeClr val="tx1"/>
          </a:solidFill>
          <a:ln>
            <a:solidFill>
              <a:schemeClr val="tx1"/>
            </a:solidFill>
            <a:miter lim="800000"/>
          </a:ln>
        </p:spPr>
        <p:txBody>
          <a:bodyPr anchor="ctr"/>
          <a:lstStyle>
            <a:lvl1pPr marL="0" indent="0">
              <a:buNone/>
              <a:defRPr sz="100" baseline="0"/>
            </a:lvl1pPr>
          </a:lstStyle>
          <a:p>
            <a:r>
              <a:rPr lang="en-GB"/>
              <a:t> </a:t>
            </a:r>
          </a:p>
        </p:txBody>
      </p:sp>
      <p:sp>
        <p:nvSpPr>
          <p:cNvPr id="9" name="Bildplatzhalter 18"/>
          <p:cNvSpPr>
            <a:spLocks noGrp="1"/>
          </p:cNvSpPr>
          <p:nvPr>
            <p:ph type="pic" sz="quarter" idx="18" hasCustomPrompt="1"/>
          </p:nvPr>
        </p:nvSpPr>
        <p:spPr bwMode="gray">
          <a:xfrm>
            <a:off x="1209617" y="3357563"/>
            <a:ext cx="4876800" cy="3600"/>
          </a:xfrm>
          <a:prstGeom prst="rect">
            <a:avLst/>
          </a:prstGeom>
          <a:solidFill>
            <a:schemeClr val="tx1"/>
          </a:solidFill>
          <a:ln>
            <a:solidFill>
              <a:schemeClr val="tx1"/>
            </a:solidFill>
            <a:miter lim="800000"/>
          </a:ln>
        </p:spPr>
        <p:txBody>
          <a:bodyPr anchor="ctr"/>
          <a:lstStyle>
            <a:lvl1pPr marL="0" indent="0">
              <a:buNone/>
              <a:defRPr sz="100"/>
            </a:lvl1pPr>
          </a:lstStyle>
          <a:p>
            <a:r>
              <a:rPr lang="en-GB"/>
              <a:t> </a:t>
            </a:r>
          </a:p>
        </p:txBody>
      </p:sp>
    </p:spTree>
    <p:extLst>
      <p:ext uri="{BB962C8B-B14F-4D97-AF65-F5344CB8AC3E}">
        <p14:creationId xmlns:p14="http://schemas.microsoft.com/office/powerpoint/2010/main" val="34974282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ontakt auf weiß">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227" y="260569"/>
            <a:ext cx="10465453" cy="1152159"/>
          </a:xfrm>
          <a:prstGeom prst="rect">
            <a:avLst/>
          </a:prstGeom>
        </p:spPr>
        <p:txBody>
          <a:bodyPr/>
          <a:lstStyle/>
          <a:p>
            <a:r>
              <a:rPr lang="en-US"/>
              <a:t>Click to edit Master title style</a:t>
            </a:r>
            <a:endParaRPr lang="en-GB"/>
          </a:p>
        </p:txBody>
      </p:sp>
      <p:sp>
        <p:nvSpPr>
          <p:cNvPr id="3" name="Datumsplatzhalter 2"/>
          <p:cNvSpPr>
            <a:spLocks noGrp="1"/>
          </p:cNvSpPr>
          <p:nvPr>
            <p:ph type="dt" sz="half" idx="10"/>
          </p:nvPr>
        </p:nvSpPr>
        <p:spPr bwMode="gray"/>
        <p:txBody>
          <a:bodyPr/>
          <a:lstStyle/>
          <a:p>
            <a:r>
              <a:rPr lang="de-DE">
                <a:solidFill>
                  <a:srgbClr val="001155"/>
                </a:solidFill>
              </a:rPr>
              <a:t>dd/mm/yyyy</a:t>
            </a:r>
            <a:endParaRPr lang="en-GB">
              <a:solidFill>
                <a:srgbClr val="001155"/>
              </a:solidFill>
            </a:endParaRPr>
          </a:p>
        </p:txBody>
      </p:sp>
      <p:sp>
        <p:nvSpPr>
          <p:cNvPr id="4" name="Foliennummernplatzhalter 3"/>
          <p:cNvSpPr>
            <a:spLocks noGrp="1"/>
          </p:cNvSpPr>
          <p:nvPr>
            <p:ph type="sldNum" sz="quarter" idx="11"/>
          </p:nvPr>
        </p:nvSpPr>
        <p:spPr bwMode="gray"/>
        <p:txBody>
          <a:bodyPr/>
          <a:lstStyle/>
          <a:p>
            <a:fld id="{F4152B43-0D93-45A1-BE43-5405A99BCA7F}" type="slidenum">
              <a:rPr lang="en-GB" smtClean="0">
                <a:solidFill>
                  <a:srgbClr val="001155"/>
                </a:solidFill>
              </a:rPr>
              <a:pPr/>
              <a:t>‹#›</a:t>
            </a:fld>
            <a:endParaRPr lang="en-GB">
              <a:solidFill>
                <a:srgbClr val="001155"/>
              </a:solidFill>
            </a:endParaRPr>
          </a:p>
        </p:txBody>
      </p:sp>
      <p:sp>
        <p:nvSpPr>
          <p:cNvPr id="5" name="Fußzeilenplatzhalter 4"/>
          <p:cNvSpPr>
            <a:spLocks noGrp="1"/>
          </p:cNvSpPr>
          <p:nvPr>
            <p:ph type="ftr" sz="quarter" idx="12"/>
          </p:nvPr>
        </p:nvSpPr>
        <p:spPr bwMode="gray"/>
        <p:txBody>
          <a:bodyPr/>
          <a:lstStyle/>
          <a:p>
            <a:r>
              <a:rPr lang="en-GB">
                <a:solidFill>
                  <a:srgbClr val="001155"/>
                </a:solidFill>
              </a:rPr>
              <a:t>Classification, First name &amp; surname, Organization, Filename_Version</a:t>
            </a:r>
          </a:p>
        </p:txBody>
      </p:sp>
      <p:sp>
        <p:nvSpPr>
          <p:cNvPr id="7" name="Textplatzhalter 6"/>
          <p:cNvSpPr>
            <a:spLocks noGrp="1"/>
          </p:cNvSpPr>
          <p:nvPr>
            <p:ph type="body" sz="quarter" idx="13"/>
          </p:nvPr>
        </p:nvSpPr>
        <p:spPr bwMode="gray">
          <a:xfrm>
            <a:off x="1200152" y="1773239"/>
            <a:ext cx="4895849" cy="4392612"/>
          </a:xfrm>
          <a:prstGeom prst="rect">
            <a:avLst/>
          </a:prstGeom>
        </p:spPr>
        <p:txBody>
          <a:bodyPr/>
          <a:lstStyle>
            <a:lvl1pPr marL="0" indent="0">
              <a:spcAft>
                <a:spcPts val="600"/>
              </a:spcAft>
              <a:buNone/>
              <a:defRPr sz="1200"/>
            </a:lvl1pPr>
            <a:lvl2pPr marL="0" indent="0">
              <a:buNone/>
              <a:defRPr sz="1200"/>
            </a:lvl2pPr>
            <a:lvl3pPr marL="0" indent="0">
              <a:buNone/>
              <a:defRPr sz="1200" u="sng"/>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832057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 auf blau">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el 1"/>
          <p:cNvSpPr>
            <a:spLocks noGrp="1"/>
          </p:cNvSpPr>
          <p:nvPr>
            <p:ph type="title"/>
          </p:nvPr>
        </p:nvSpPr>
        <p:spPr bwMode="gray">
          <a:xfrm>
            <a:off x="527051" y="260353"/>
            <a:ext cx="10464800" cy="1152525"/>
          </a:xfrm>
          <a:prstGeom prst="rect">
            <a:avLst/>
          </a:prstGeom>
        </p:spPr>
        <p:txBody>
          <a:bodyPr/>
          <a:lstStyle>
            <a:lvl1pPr>
              <a:defRPr>
                <a:solidFill>
                  <a:schemeClr val="bg1"/>
                </a:solidFill>
              </a:defRPr>
            </a:lvl1pPr>
          </a:lstStyle>
          <a:p>
            <a:r>
              <a:rPr lang="en-US"/>
              <a:t>Click to edit Master title style</a:t>
            </a:r>
            <a:endParaRPr lang="en-GB"/>
          </a:p>
        </p:txBody>
      </p:sp>
      <p:sp>
        <p:nvSpPr>
          <p:cNvPr id="3" name="Datumsplatzhalter 2"/>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4" name="Foliennummernplatzhalter 3"/>
          <p:cNvSpPr>
            <a:spLocks noGrp="1"/>
          </p:cNvSpPr>
          <p:nvPr>
            <p:ph type="sldNum" sz="quarter" idx="11"/>
          </p:nvPr>
        </p:nvSpPr>
        <p:spPr bwMode="gray"/>
        <p:txBody>
          <a:bodyPr/>
          <a:lstStyle>
            <a:lvl1pPr>
              <a:defRPr>
                <a:solidFill>
                  <a:schemeClr val="bg1"/>
                </a:solidFill>
              </a:defRPr>
            </a:lvl1pPr>
          </a:lstStyle>
          <a:p>
            <a:fld id="{F4152B43-0D93-45A1-BE43-5405A99BCA7F}" type="slidenum">
              <a:rPr lang="en-GB" smtClean="0">
                <a:solidFill>
                  <a:prstClr val="white"/>
                </a:solidFill>
              </a:rPr>
              <a:pPr/>
              <a:t>‹#›</a:t>
            </a:fld>
            <a:endParaRPr lang="en-GB">
              <a:solidFill>
                <a:prstClr val="white"/>
              </a:solidFill>
            </a:endParaRPr>
          </a:p>
        </p:txBody>
      </p:sp>
      <p:sp>
        <p:nvSpPr>
          <p:cNvPr id="5" name="Fußzeilenplatzhalter 4"/>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7" name="Textplatzhalter 6"/>
          <p:cNvSpPr>
            <a:spLocks noGrp="1"/>
          </p:cNvSpPr>
          <p:nvPr>
            <p:ph type="body" sz="quarter" idx="13"/>
          </p:nvPr>
        </p:nvSpPr>
        <p:spPr bwMode="gray">
          <a:xfrm>
            <a:off x="1200152" y="1773239"/>
            <a:ext cx="4895849" cy="4392612"/>
          </a:xfrm>
          <a:prstGeom prst="rect">
            <a:avLst/>
          </a:prstGeom>
        </p:spPr>
        <p:txBody>
          <a:bodyPr/>
          <a:lstStyle>
            <a:lvl1pPr marL="0" indent="0">
              <a:spcAft>
                <a:spcPts val="600"/>
              </a:spcAft>
              <a:buNone/>
              <a:defRPr sz="1200">
                <a:solidFill>
                  <a:schemeClr val="bg1"/>
                </a:solidFill>
              </a:defRPr>
            </a:lvl1pPr>
            <a:lvl2pPr marL="0" indent="0">
              <a:buNone/>
              <a:defRPr sz="1200">
                <a:solidFill>
                  <a:schemeClr val="bg1"/>
                </a:solidFill>
              </a:defRPr>
            </a:lvl2pPr>
            <a:lvl3pPr marL="0" indent="0">
              <a:buNone/>
              <a:defRPr sz="1200" u="sng">
                <a:solidFill>
                  <a:schemeClr val="bg1"/>
                </a:solidFill>
              </a:defRPr>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en-US"/>
              <a:t>Click to edit Master text styles</a:t>
            </a:r>
          </a:p>
          <a:p>
            <a:pPr lvl="1"/>
            <a:r>
              <a:rPr lang="en-US"/>
              <a:t>Second level</a:t>
            </a:r>
          </a:p>
          <a:p>
            <a:pPr lvl="2"/>
            <a:r>
              <a:rPr lang="en-US"/>
              <a:t>Third level</a:t>
            </a:r>
          </a:p>
        </p:txBody>
      </p:sp>
      <p:sp>
        <p:nvSpPr>
          <p:cNvPr id="9"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40268961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Foliennummernplatzhalter 2"/>
          <p:cNvSpPr>
            <a:spLocks noGrp="1"/>
          </p:cNvSpPr>
          <p:nvPr>
            <p:ph type="sldNum" sz="quarter" idx="10"/>
          </p:nvPr>
        </p:nvSpPr>
        <p:spPr/>
        <p:txBody>
          <a:bodyPr/>
          <a:lstStyle/>
          <a:p>
            <a:pPr>
              <a:defRPr/>
            </a:pPr>
            <a:fld id="{EB90B452-A44A-4E43-95CC-332CC049A783}" type="slidenum">
              <a:rPr lang="de-DE" altLang="de-DE" smtClean="0">
                <a:solidFill>
                  <a:srgbClr val="001155"/>
                </a:solidFill>
              </a:rPr>
              <a:pPr>
                <a:defRPr/>
              </a:pPr>
              <a:t>‹#›</a:t>
            </a:fld>
            <a:endParaRPr lang="de-DE" altLang="de-DE">
              <a:solidFill>
                <a:srgbClr val="001155"/>
              </a:solidFill>
            </a:endParaRPr>
          </a:p>
        </p:txBody>
      </p:sp>
      <p:sp>
        <p:nvSpPr>
          <p:cNvPr id="5" name="Inhaltsplatzhalter 4"/>
          <p:cNvSpPr>
            <a:spLocks noGrp="1"/>
          </p:cNvSpPr>
          <p:nvPr>
            <p:ph sz="quarter" idx="11"/>
          </p:nvPr>
        </p:nvSpPr>
        <p:spPr>
          <a:xfrm>
            <a:off x="1200150" y="1700809"/>
            <a:ext cx="9792395" cy="460923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38151841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2"/>
            <a:ext cx="10363200" cy="1362075"/>
          </a:xfrm>
        </p:spPr>
        <p:txBody>
          <a:bodyPr anchor="t"/>
          <a:lstStyle>
            <a:lvl1pPr algn="l">
              <a:defRPr sz="4000" b="1" cap="all"/>
            </a:lvl1pPr>
          </a:lstStyle>
          <a:p>
            <a:r>
              <a:rPr lang="en-GB" err="1"/>
              <a:t>Mastertitelformat</a:t>
            </a:r>
            <a:r>
              <a:rPr lang="en-GB"/>
              <a:t> </a:t>
            </a:r>
            <a:r>
              <a:rPr lang="en-GB" err="1"/>
              <a:t>bearbeiten</a:t>
            </a:r>
            <a:endParaRPr lang="en-GB"/>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err="1"/>
              <a:t>Mastertextformat</a:t>
            </a:r>
            <a:r>
              <a:rPr lang="en-GB"/>
              <a:t> </a:t>
            </a:r>
            <a:r>
              <a:rPr lang="en-GB" err="1"/>
              <a:t>bearbeiten</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72CDD404-C64A-4714-B349-0177F9317ABB}" type="datetime1">
              <a:rPr lang="de-CH"/>
              <a:pPr>
                <a:defRPr/>
              </a:pPr>
              <a:t>21.03.2024</a:t>
            </a:fld>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F158ED98-28E3-4B75-BBE0-1823A54BB00E}"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2676043910"/>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91240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4768989B-B83C-4FC0-8436-4339C8264BB7}" type="datetime1">
              <a:rPr lang="de-CH" smtClean="0"/>
              <a:pPr>
                <a:buClr>
                  <a:srgbClr val="11AAFF"/>
                </a:buClr>
              </a:pPr>
              <a:t>21.03.2024</a:t>
            </a:fld>
            <a:endParaRPr lang="en-GB"/>
          </a:p>
        </p:txBody>
      </p:sp>
      <p:sp>
        <p:nvSpPr>
          <p:cNvPr id="5" name="Rectangle 6"/>
          <p:cNvSpPr>
            <a:spLocks noGrp="1" noChangeArrowheads="1"/>
          </p:cNvSpPr>
          <p:nvPr>
            <p:ph type="sldNum" sz="quarter" idx="11"/>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D0CB33D5-05CC-4937-B9F5-3343F9D4E6DF}" type="slidenum">
              <a:rPr lang="en-GB"/>
              <a:pPr>
                <a:buClr>
                  <a:srgbClr val="11AAFF"/>
                </a:buClr>
              </a:pPr>
              <a:t>‹#›</a:t>
            </a:fld>
            <a:endParaRPr lang="en-GB"/>
          </a:p>
        </p:txBody>
      </p:sp>
      <p:sp>
        <p:nvSpPr>
          <p:cNvPr id="6" name="Rectangle 16"/>
          <p:cNvSpPr>
            <a:spLocks noGrp="1" noChangeArrowheads="1"/>
          </p:cNvSpPr>
          <p:nvPr>
            <p:ph type="ftr" sz="quarter" idx="12"/>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138178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en-GB" err="1"/>
              <a:t>Mastertitelformat</a:t>
            </a:r>
            <a:r>
              <a:rPr lang="en-GB"/>
              <a:t> </a:t>
            </a:r>
            <a:r>
              <a:rPr lang="en-GB" err="1"/>
              <a:t>bearbeiten</a:t>
            </a:r>
            <a:endParaRPr lang="en-GB"/>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err="1"/>
              <a:t>Mastertextformat</a:t>
            </a:r>
            <a:r>
              <a:rPr lang="en-GB"/>
              <a:t> </a:t>
            </a:r>
            <a:r>
              <a:rPr lang="en-GB" err="1"/>
              <a:t>bearbeiten</a:t>
            </a:r>
            <a:endParaRPr lang="en-GB"/>
          </a:p>
        </p:txBody>
      </p:sp>
      <p:sp>
        <p:nvSpPr>
          <p:cNvPr id="4" name="Rectangle 4"/>
          <p:cNvSpPr>
            <a:spLocks noGrp="1" noChangeArrowheads="1"/>
          </p:cNvSpPr>
          <p:nvPr>
            <p:ph type="dt" sz="half" idx="10"/>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16567EE0-E1CB-43D0-9CC0-7EA6161DD1A3}" type="datetime1">
              <a:rPr lang="de-CH" smtClean="0"/>
              <a:pPr>
                <a:buClr>
                  <a:srgbClr val="11AAFF"/>
                </a:buClr>
              </a:pPr>
              <a:t>21.03.2024</a:t>
            </a:fld>
            <a:endParaRPr lang="en-GB"/>
          </a:p>
        </p:txBody>
      </p:sp>
      <p:sp>
        <p:nvSpPr>
          <p:cNvPr id="5" name="Rectangle 6"/>
          <p:cNvSpPr>
            <a:spLocks noGrp="1" noChangeArrowheads="1"/>
          </p:cNvSpPr>
          <p:nvPr>
            <p:ph type="sldNum" sz="quarter" idx="11"/>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3A0DA8EC-3B94-4BEF-8866-8D298156BB53}" type="slidenum">
              <a:rPr lang="en-GB"/>
              <a:pPr>
                <a:buClr>
                  <a:srgbClr val="11AAFF"/>
                </a:buClr>
              </a:pPr>
              <a:t>‹#›</a:t>
            </a:fld>
            <a:endParaRPr lang="en-GB"/>
          </a:p>
        </p:txBody>
      </p:sp>
      <p:sp>
        <p:nvSpPr>
          <p:cNvPr id="6" name="Rectangle 16"/>
          <p:cNvSpPr>
            <a:spLocks noGrp="1" noChangeArrowheads="1"/>
          </p:cNvSpPr>
          <p:nvPr>
            <p:ph type="ftr" sz="quarter" idx="12"/>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3654127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Rectangle 4"/>
          <p:cNvSpPr>
            <a:spLocks noGrp="1" noChangeArrowheads="1"/>
          </p:cNvSpPr>
          <p:nvPr>
            <p:ph type="dt" sz="half" idx="10"/>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F756986E-35CA-4A6B-9087-451DB6177564}" type="datetime1">
              <a:rPr lang="de-CH" smtClean="0"/>
              <a:pPr>
                <a:buClr>
                  <a:srgbClr val="11AAFF"/>
                </a:buClr>
              </a:pPr>
              <a:t>21.03.2024</a:t>
            </a:fld>
            <a:endParaRPr lang="en-GB"/>
          </a:p>
        </p:txBody>
      </p:sp>
      <p:sp>
        <p:nvSpPr>
          <p:cNvPr id="4" name="Rectangle 6"/>
          <p:cNvSpPr>
            <a:spLocks noGrp="1" noChangeArrowheads="1"/>
          </p:cNvSpPr>
          <p:nvPr>
            <p:ph type="sldNum" sz="quarter" idx="11"/>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6CBBF518-836D-4A07-8BA7-61EE55A113C9}" type="slidenum">
              <a:rPr lang="en-GB"/>
              <a:pPr>
                <a:buClr>
                  <a:srgbClr val="11AAFF"/>
                </a:buClr>
              </a:pPr>
              <a:t>‹#›</a:t>
            </a:fld>
            <a:endParaRPr lang="en-GB"/>
          </a:p>
        </p:txBody>
      </p:sp>
      <p:sp>
        <p:nvSpPr>
          <p:cNvPr id="5" name="Rectangle 16"/>
          <p:cNvSpPr>
            <a:spLocks noGrp="1" noChangeArrowheads="1"/>
          </p:cNvSpPr>
          <p:nvPr>
            <p:ph type="ftr" sz="quarter" idx="12"/>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63205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3B2F4CBC-53F0-4CC8-A98F-80D9B1813E24}" type="datetime1">
              <a:rPr lang="de-CH" smtClean="0"/>
              <a:pPr>
                <a:buClr>
                  <a:srgbClr val="11AAFF"/>
                </a:buClr>
              </a:pPr>
              <a:t>21.03.2024</a:t>
            </a:fld>
            <a:endParaRPr lang="en-GB"/>
          </a:p>
        </p:txBody>
      </p:sp>
      <p:sp>
        <p:nvSpPr>
          <p:cNvPr id="3" name="Rectangle 6"/>
          <p:cNvSpPr>
            <a:spLocks noGrp="1" noChangeArrowheads="1"/>
          </p:cNvSpPr>
          <p:nvPr>
            <p:ph type="sldNum" sz="quarter" idx="11"/>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1ABABF94-A49A-4E70-886F-868B881E347E}" type="slidenum">
              <a:rPr lang="en-GB"/>
              <a:pPr>
                <a:buClr>
                  <a:srgbClr val="11AAFF"/>
                </a:buClr>
              </a:pPr>
              <a:t>‹#›</a:t>
            </a:fld>
            <a:endParaRPr lang="en-GB"/>
          </a:p>
        </p:txBody>
      </p:sp>
      <p:sp>
        <p:nvSpPr>
          <p:cNvPr id="4" name="Rectangle 16"/>
          <p:cNvSpPr>
            <a:spLocks noGrp="1" noChangeArrowheads="1"/>
          </p:cNvSpPr>
          <p:nvPr>
            <p:ph type="ftr" sz="quarter" idx="12"/>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266971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sp>
        <p:nvSpPr>
          <p:cNvPr id="8" name="Freeform 6"/>
          <p:cNvSpPr>
            <a:spLocks/>
          </p:cNvSpPr>
          <p:nvPr/>
        </p:nvSpPr>
        <p:spPr bwMode="auto">
          <a:xfrm flipH="1">
            <a:off x="-1" y="5243270"/>
            <a:ext cx="11004551" cy="1336918"/>
          </a:xfrm>
          <a:custGeom>
            <a:avLst/>
            <a:gdLst>
              <a:gd name="T0" fmla="*/ 9 w 744"/>
              <a:gd name="T1" fmla="*/ 73 h 134"/>
              <a:gd name="T2" fmla="*/ 20 w 744"/>
              <a:gd name="T3" fmla="*/ 67 h 134"/>
              <a:gd name="T4" fmla="*/ 28 w 744"/>
              <a:gd name="T5" fmla="*/ 74 h 134"/>
              <a:gd name="T6" fmla="*/ 35 w 744"/>
              <a:gd name="T7" fmla="*/ 83 h 134"/>
              <a:gd name="T8" fmla="*/ 53 w 744"/>
              <a:gd name="T9" fmla="*/ 69 h 134"/>
              <a:gd name="T10" fmla="*/ 71 w 744"/>
              <a:gd name="T11" fmla="*/ 21 h 134"/>
              <a:gd name="T12" fmla="*/ 98 w 744"/>
              <a:gd name="T13" fmla="*/ 134 h 134"/>
              <a:gd name="T14" fmla="*/ 106 w 744"/>
              <a:gd name="T15" fmla="*/ 113 h 134"/>
              <a:gd name="T16" fmla="*/ 98 w 744"/>
              <a:gd name="T17" fmla="*/ 105 h 134"/>
              <a:gd name="T18" fmla="*/ 105 w 744"/>
              <a:gd name="T19" fmla="*/ 87 h 134"/>
              <a:gd name="T20" fmla="*/ 98 w 744"/>
              <a:gd name="T21" fmla="*/ 79 h 134"/>
              <a:gd name="T22" fmla="*/ 105 w 744"/>
              <a:gd name="T23" fmla="*/ 59 h 134"/>
              <a:gd name="T24" fmla="*/ 98 w 744"/>
              <a:gd name="T25" fmla="*/ 51 h 134"/>
              <a:gd name="T26" fmla="*/ 105 w 744"/>
              <a:gd name="T27" fmla="*/ 25 h 134"/>
              <a:gd name="T28" fmla="*/ 116 w 744"/>
              <a:gd name="T29" fmla="*/ 73 h 134"/>
              <a:gd name="T30" fmla="*/ 146 w 744"/>
              <a:gd name="T31" fmla="*/ 39 h 134"/>
              <a:gd name="T32" fmla="*/ 192 w 744"/>
              <a:gd name="T33" fmla="*/ 89 h 134"/>
              <a:gd name="T34" fmla="*/ 206 w 744"/>
              <a:gd name="T35" fmla="*/ 64 h 134"/>
              <a:gd name="T36" fmla="*/ 229 w 744"/>
              <a:gd name="T37" fmla="*/ 89 h 134"/>
              <a:gd name="T38" fmla="*/ 236 w 744"/>
              <a:gd name="T39" fmla="*/ 56 h 134"/>
              <a:gd name="T40" fmla="*/ 285 w 744"/>
              <a:gd name="T41" fmla="*/ 88 h 134"/>
              <a:gd name="T42" fmla="*/ 291 w 744"/>
              <a:gd name="T43" fmla="*/ 41 h 134"/>
              <a:gd name="T44" fmla="*/ 326 w 744"/>
              <a:gd name="T45" fmla="*/ 79 h 134"/>
              <a:gd name="T46" fmla="*/ 344 w 744"/>
              <a:gd name="T47" fmla="*/ 49 h 134"/>
              <a:gd name="T48" fmla="*/ 354 w 744"/>
              <a:gd name="T49" fmla="*/ 22 h 134"/>
              <a:gd name="T50" fmla="*/ 374 w 744"/>
              <a:gd name="T51" fmla="*/ 48 h 134"/>
              <a:gd name="T52" fmla="*/ 383 w 744"/>
              <a:gd name="T53" fmla="*/ 81 h 134"/>
              <a:gd name="T54" fmla="*/ 415 w 744"/>
              <a:gd name="T55" fmla="*/ 40 h 134"/>
              <a:gd name="T56" fmla="*/ 470 w 744"/>
              <a:gd name="T57" fmla="*/ 101 h 134"/>
              <a:gd name="T58" fmla="*/ 521 w 744"/>
              <a:gd name="T59" fmla="*/ 79 h 134"/>
              <a:gd name="T60" fmla="*/ 554 w 744"/>
              <a:gd name="T61" fmla="*/ 6 h 134"/>
              <a:gd name="T62" fmla="*/ 561 w 744"/>
              <a:gd name="T63" fmla="*/ 0 h 134"/>
              <a:gd name="T64" fmla="*/ 571 w 744"/>
              <a:gd name="T65" fmla="*/ 6 h 134"/>
              <a:gd name="T66" fmla="*/ 595 w 744"/>
              <a:gd name="T67" fmla="*/ 6 h 134"/>
              <a:gd name="T68" fmla="*/ 606 w 744"/>
              <a:gd name="T69" fmla="*/ 0 h 134"/>
              <a:gd name="T70" fmla="*/ 612 w 744"/>
              <a:gd name="T71" fmla="*/ 6 h 134"/>
              <a:gd name="T72" fmla="*/ 649 w 744"/>
              <a:gd name="T73" fmla="*/ 92 h 134"/>
              <a:gd name="T74" fmla="*/ 705 w 744"/>
              <a:gd name="T75" fmla="*/ 77 h 134"/>
              <a:gd name="T76" fmla="*/ 731 w 744"/>
              <a:gd name="T77" fmla="*/ 92 h 134"/>
              <a:gd name="T78" fmla="*/ 737 w 744"/>
              <a:gd name="T79" fmla="*/ 31 h 134"/>
              <a:gd name="T80" fmla="*/ 744 w 744"/>
              <a:gd name="T81" fmla="*/ 16 h 134"/>
              <a:gd name="T82" fmla="*/ 0 w 744"/>
              <a:gd name="T83" fmla="*/ 134 h 134"/>
              <a:gd name="T84" fmla="*/ 9 w 744"/>
              <a:gd name="T85" fmla="*/ 8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4" h="134">
                <a:moveTo>
                  <a:pt x="9" y="81"/>
                </a:moveTo>
                <a:lnTo>
                  <a:pt x="9" y="73"/>
                </a:lnTo>
                <a:lnTo>
                  <a:pt x="20" y="73"/>
                </a:lnTo>
                <a:lnTo>
                  <a:pt x="20" y="67"/>
                </a:lnTo>
                <a:lnTo>
                  <a:pt x="28" y="67"/>
                </a:lnTo>
                <a:lnTo>
                  <a:pt x="28" y="74"/>
                </a:lnTo>
                <a:lnTo>
                  <a:pt x="35" y="74"/>
                </a:lnTo>
                <a:lnTo>
                  <a:pt x="35" y="83"/>
                </a:lnTo>
                <a:lnTo>
                  <a:pt x="53" y="83"/>
                </a:lnTo>
                <a:lnTo>
                  <a:pt x="53" y="69"/>
                </a:lnTo>
                <a:lnTo>
                  <a:pt x="71" y="59"/>
                </a:lnTo>
                <a:lnTo>
                  <a:pt x="71" y="21"/>
                </a:lnTo>
                <a:lnTo>
                  <a:pt x="98" y="21"/>
                </a:lnTo>
                <a:lnTo>
                  <a:pt x="98" y="134"/>
                </a:lnTo>
                <a:lnTo>
                  <a:pt x="106" y="134"/>
                </a:lnTo>
                <a:lnTo>
                  <a:pt x="106" y="113"/>
                </a:lnTo>
                <a:lnTo>
                  <a:pt x="98" y="113"/>
                </a:lnTo>
                <a:lnTo>
                  <a:pt x="98" y="105"/>
                </a:lnTo>
                <a:lnTo>
                  <a:pt x="105" y="105"/>
                </a:lnTo>
                <a:lnTo>
                  <a:pt x="105" y="87"/>
                </a:lnTo>
                <a:lnTo>
                  <a:pt x="98" y="87"/>
                </a:lnTo>
                <a:lnTo>
                  <a:pt x="98" y="79"/>
                </a:lnTo>
                <a:lnTo>
                  <a:pt x="105" y="79"/>
                </a:lnTo>
                <a:lnTo>
                  <a:pt x="105" y="59"/>
                </a:lnTo>
                <a:lnTo>
                  <a:pt x="98" y="59"/>
                </a:lnTo>
                <a:lnTo>
                  <a:pt x="98" y="51"/>
                </a:lnTo>
                <a:lnTo>
                  <a:pt x="105" y="51"/>
                </a:lnTo>
                <a:lnTo>
                  <a:pt x="105" y="25"/>
                </a:lnTo>
                <a:lnTo>
                  <a:pt x="116" y="44"/>
                </a:lnTo>
                <a:lnTo>
                  <a:pt x="116" y="73"/>
                </a:lnTo>
                <a:lnTo>
                  <a:pt x="146" y="73"/>
                </a:lnTo>
                <a:lnTo>
                  <a:pt x="146" y="39"/>
                </a:lnTo>
                <a:lnTo>
                  <a:pt x="192" y="26"/>
                </a:lnTo>
                <a:lnTo>
                  <a:pt x="192" y="89"/>
                </a:lnTo>
                <a:lnTo>
                  <a:pt x="206" y="89"/>
                </a:lnTo>
                <a:lnTo>
                  <a:pt x="206" y="64"/>
                </a:lnTo>
                <a:lnTo>
                  <a:pt x="229" y="64"/>
                </a:lnTo>
                <a:lnTo>
                  <a:pt x="229" y="89"/>
                </a:lnTo>
                <a:lnTo>
                  <a:pt x="236" y="89"/>
                </a:lnTo>
                <a:lnTo>
                  <a:pt x="236" y="56"/>
                </a:lnTo>
                <a:lnTo>
                  <a:pt x="285" y="69"/>
                </a:lnTo>
                <a:lnTo>
                  <a:pt x="285" y="88"/>
                </a:lnTo>
                <a:lnTo>
                  <a:pt x="291" y="88"/>
                </a:lnTo>
                <a:lnTo>
                  <a:pt x="291" y="41"/>
                </a:lnTo>
                <a:lnTo>
                  <a:pt x="326" y="33"/>
                </a:lnTo>
                <a:lnTo>
                  <a:pt x="326" y="79"/>
                </a:lnTo>
                <a:lnTo>
                  <a:pt x="344" y="79"/>
                </a:lnTo>
                <a:lnTo>
                  <a:pt x="344" y="49"/>
                </a:lnTo>
                <a:lnTo>
                  <a:pt x="354" y="49"/>
                </a:lnTo>
                <a:lnTo>
                  <a:pt x="354" y="22"/>
                </a:lnTo>
                <a:lnTo>
                  <a:pt x="374" y="22"/>
                </a:lnTo>
                <a:lnTo>
                  <a:pt x="374" y="48"/>
                </a:lnTo>
                <a:lnTo>
                  <a:pt x="383" y="48"/>
                </a:lnTo>
                <a:lnTo>
                  <a:pt x="383" y="81"/>
                </a:lnTo>
                <a:lnTo>
                  <a:pt x="415" y="81"/>
                </a:lnTo>
                <a:lnTo>
                  <a:pt x="415" y="40"/>
                </a:lnTo>
                <a:lnTo>
                  <a:pt x="470" y="26"/>
                </a:lnTo>
                <a:lnTo>
                  <a:pt x="470" y="101"/>
                </a:lnTo>
                <a:lnTo>
                  <a:pt x="521" y="101"/>
                </a:lnTo>
                <a:lnTo>
                  <a:pt x="521" y="79"/>
                </a:lnTo>
                <a:lnTo>
                  <a:pt x="554" y="79"/>
                </a:lnTo>
                <a:lnTo>
                  <a:pt x="554" y="6"/>
                </a:lnTo>
                <a:lnTo>
                  <a:pt x="559" y="6"/>
                </a:lnTo>
                <a:lnTo>
                  <a:pt x="561" y="0"/>
                </a:lnTo>
                <a:lnTo>
                  <a:pt x="569" y="0"/>
                </a:lnTo>
                <a:lnTo>
                  <a:pt x="571" y="6"/>
                </a:lnTo>
                <a:lnTo>
                  <a:pt x="578" y="6"/>
                </a:lnTo>
                <a:lnTo>
                  <a:pt x="595" y="6"/>
                </a:lnTo>
                <a:lnTo>
                  <a:pt x="598" y="0"/>
                </a:lnTo>
                <a:lnTo>
                  <a:pt x="606" y="0"/>
                </a:lnTo>
                <a:lnTo>
                  <a:pt x="609" y="6"/>
                </a:lnTo>
                <a:lnTo>
                  <a:pt x="612" y="6"/>
                </a:lnTo>
                <a:lnTo>
                  <a:pt x="612" y="92"/>
                </a:lnTo>
                <a:lnTo>
                  <a:pt x="649" y="92"/>
                </a:lnTo>
                <a:lnTo>
                  <a:pt x="649" y="62"/>
                </a:lnTo>
                <a:lnTo>
                  <a:pt x="705" y="77"/>
                </a:lnTo>
                <a:lnTo>
                  <a:pt x="705" y="92"/>
                </a:lnTo>
                <a:lnTo>
                  <a:pt x="731" y="92"/>
                </a:lnTo>
                <a:lnTo>
                  <a:pt x="731" y="37"/>
                </a:lnTo>
                <a:lnTo>
                  <a:pt x="737" y="31"/>
                </a:lnTo>
                <a:lnTo>
                  <a:pt x="737" y="16"/>
                </a:lnTo>
                <a:lnTo>
                  <a:pt x="744" y="16"/>
                </a:lnTo>
                <a:lnTo>
                  <a:pt x="744" y="134"/>
                </a:lnTo>
                <a:lnTo>
                  <a:pt x="0" y="134"/>
                </a:lnTo>
                <a:lnTo>
                  <a:pt x="0" y="81"/>
                </a:lnTo>
                <a:lnTo>
                  <a:pt x="9" y="81"/>
                </a:lnTo>
                <a:close/>
              </a:path>
            </a:pathLst>
          </a:custGeom>
          <a:solidFill>
            <a:schemeClr val="tx1">
              <a:alpha val="24000"/>
            </a:schemeClr>
          </a:solidFill>
          <a:ln>
            <a:noFill/>
          </a:ln>
        </p:spPr>
        <p:txBody>
          <a:bodyPr vert="horz" wrap="square" lIns="91440" tIns="45720" rIns="91440" bIns="45720" numCol="1" anchor="t" anchorCtr="0" compatLnSpc="1">
            <a:prstTxWarp prst="textNoShape">
              <a:avLst/>
            </a:prstTxWarp>
          </a:bodyPr>
          <a:lstStyle/>
          <a:p>
            <a:endParaRPr lang="en-US" sz="1800">
              <a:solidFill>
                <a:srgbClr val="001155"/>
              </a:solidFill>
            </a:endParaRPr>
          </a:p>
        </p:txBody>
      </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4191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2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Group 10"/>
          <p:cNvGrpSpPr>
            <a:grpSpLocks noChangeAspect="1"/>
          </p:cNvGrpSpPr>
          <p:nvPr/>
        </p:nvGrpSpPr>
        <p:grpSpPr bwMode="auto">
          <a:xfrm>
            <a:off x="-9950" y="4677841"/>
            <a:ext cx="11014499" cy="1901375"/>
            <a:chOff x="-18109" y="-2668"/>
            <a:chExt cx="41974" cy="9661"/>
          </a:xfrm>
          <a:solidFill>
            <a:schemeClr val="tx1">
              <a:alpha val="29000"/>
            </a:schemeClr>
          </a:solidFill>
        </p:grpSpPr>
        <p:sp>
          <p:nvSpPr>
            <p:cNvPr id="17" name="Freeform 11"/>
            <p:cNvSpPr>
              <a:spLocks/>
            </p:cNvSpPr>
            <p:nvPr userDrawn="1"/>
          </p:nvSpPr>
          <p:spPr bwMode="auto">
            <a:xfrm>
              <a:off x="-3747" y="4936"/>
              <a:ext cx="626" cy="1383"/>
            </a:xfrm>
            <a:custGeom>
              <a:avLst/>
              <a:gdLst>
                <a:gd name="T0" fmla="*/ 149 w 626"/>
                <a:gd name="T1" fmla="*/ 1383 h 1383"/>
                <a:gd name="T2" fmla="*/ 149 w 626"/>
                <a:gd name="T3" fmla="*/ 1052 h 1383"/>
                <a:gd name="T4" fmla="*/ 229 w 626"/>
                <a:gd name="T5" fmla="*/ 1052 h 1383"/>
                <a:gd name="T6" fmla="*/ 229 w 626"/>
                <a:gd name="T7" fmla="*/ 664 h 1383"/>
                <a:gd name="T8" fmla="*/ 123 w 626"/>
                <a:gd name="T9" fmla="*/ 664 h 1383"/>
                <a:gd name="T10" fmla="*/ 123 w 626"/>
                <a:gd name="T11" fmla="*/ 371 h 1383"/>
                <a:gd name="T12" fmla="*/ 0 w 626"/>
                <a:gd name="T13" fmla="*/ 371 h 1383"/>
                <a:gd name="T14" fmla="*/ 229 w 626"/>
                <a:gd name="T15" fmla="*/ 160 h 1383"/>
                <a:gd name="T16" fmla="*/ 229 w 626"/>
                <a:gd name="T17" fmla="*/ 0 h 1383"/>
                <a:gd name="T18" fmla="*/ 385 w 626"/>
                <a:gd name="T19" fmla="*/ 0 h 1383"/>
                <a:gd name="T20" fmla="*/ 385 w 626"/>
                <a:gd name="T21" fmla="*/ 203 h 1383"/>
                <a:gd name="T22" fmla="*/ 465 w 626"/>
                <a:gd name="T23" fmla="*/ 274 h 1383"/>
                <a:gd name="T24" fmla="*/ 465 w 626"/>
                <a:gd name="T25" fmla="*/ 482 h 1383"/>
                <a:gd name="T26" fmla="*/ 626 w 626"/>
                <a:gd name="T27" fmla="*/ 503 h 1383"/>
                <a:gd name="T28" fmla="*/ 595 w 626"/>
                <a:gd name="T29" fmla="*/ 617 h 1383"/>
                <a:gd name="T30" fmla="*/ 465 w 626"/>
                <a:gd name="T31" fmla="*/ 692 h 1383"/>
                <a:gd name="T32" fmla="*/ 465 w 626"/>
                <a:gd name="T33" fmla="*/ 1056 h 1383"/>
                <a:gd name="T34" fmla="*/ 574 w 626"/>
                <a:gd name="T35" fmla="*/ 1052 h 1383"/>
                <a:gd name="T36" fmla="*/ 574 w 626"/>
                <a:gd name="T37" fmla="*/ 1383 h 1383"/>
                <a:gd name="T38" fmla="*/ 149 w 626"/>
                <a:gd name="T39" fmla="*/ 1383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6" h="1383">
                  <a:moveTo>
                    <a:pt x="149" y="1383"/>
                  </a:moveTo>
                  <a:lnTo>
                    <a:pt x="149" y="1052"/>
                  </a:lnTo>
                  <a:lnTo>
                    <a:pt x="229" y="1052"/>
                  </a:lnTo>
                  <a:lnTo>
                    <a:pt x="229" y="664"/>
                  </a:lnTo>
                  <a:lnTo>
                    <a:pt x="123" y="664"/>
                  </a:lnTo>
                  <a:lnTo>
                    <a:pt x="123" y="371"/>
                  </a:lnTo>
                  <a:lnTo>
                    <a:pt x="0" y="371"/>
                  </a:lnTo>
                  <a:lnTo>
                    <a:pt x="229" y="160"/>
                  </a:lnTo>
                  <a:lnTo>
                    <a:pt x="229" y="0"/>
                  </a:lnTo>
                  <a:lnTo>
                    <a:pt x="385" y="0"/>
                  </a:lnTo>
                  <a:lnTo>
                    <a:pt x="385" y="203"/>
                  </a:lnTo>
                  <a:lnTo>
                    <a:pt x="465" y="274"/>
                  </a:lnTo>
                  <a:lnTo>
                    <a:pt x="465" y="482"/>
                  </a:lnTo>
                  <a:lnTo>
                    <a:pt x="626" y="503"/>
                  </a:lnTo>
                  <a:lnTo>
                    <a:pt x="595" y="617"/>
                  </a:lnTo>
                  <a:lnTo>
                    <a:pt x="465" y="692"/>
                  </a:lnTo>
                  <a:lnTo>
                    <a:pt x="465" y="1056"/>
                  </a:lnTo>
                  <a:lnTo>
                    <a:pt x="574" y="1052"/>
                  </a:lnTo>
                  <a:lnTo>
                    <a:pt x="574" y="1383"/>
                  </a:lnTo>
                  <a:lnTo>
                    <a:pt x="149" y="1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18" name="Rectangle 12"/>
            <p:cNvSpPr>
              <a:spLocks noChangeArrowheads="1"/>
            </p:cNvSpPr>
            <p:nvPr userDrawn="1"/>
          </p:nvSpPr>
          <p:spPr bwMode="auto">
            <a:xfrm>
              <a:off x="-628" y="-2668"/>
              <a:ext cx="85" cy="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19" name="Rectangle 13"/>
            <p:cNvSpPr>
              <a:spLocks noChangeArrowheads="1"/>
            </p:cNvSpPr>
            <p:nvPr userDrawn="1"/>
          </p:nvSpPr>
          <p:spPr bwMode="auto">
            <a:xfrm>
              <a:off x="2067" y="-2663"/>
              <a:ext cx="85" cy="7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20" name="Freeform 14"/>
            <p:cNvSpPr>
              <a:spLocks noEditPoints="1"/>
            </p:cNvSpPr>
            <p:nvPr userDrawn="1"/>
          </p:nvSpPr>
          <p:spPr bwMode="auto">
            <a:xfrm>
              <a:off x="-18109" y="-2065"/>
              <a:ext cx="41974" cy="9058"/>
            </a:xfrm>
            <a:custGeom>
              <a:avLst/>
              <a:gdLst>
                <a:gd name="T0" fmla="*/ 17047 w 17766"/>
                <a:gd name="T1" fmla="*/ 2902 h 3831"/>
                <a:gd name="T2" fmla="*/ 16779 w 17766"/>
                <a:gd name="T3" fmla="*/ 2752 h 3831"/>
                <a:gd name="T4" fmla="*/ 15890 w 17766"/>
                <a:gd name="T5" fmla="*/ 3227 h 3831"/>
                <a:gd name="T6" fmla="*/ 15733 w 17766"/>
                <a:gd name="T7" fmla="*/ 2939 h 3831"/>
                <a:gd name="T8" fmla="*/ 15029 w 17766"/>
                <a:gd name="T9" fmla="*/ 2963 h 3831"/>
                <a:gd name="T10" fmla="*/ 14436 w 17766"/>
                <a:gd name="T11" fmla="*/ 1243 h 3831"/>
                <a:gd name="T12" fmla="*/ 13194 w 17766"/>
                <a:gd name="T13" fmla="*/ 2613 h 3831"/>
                <a:gd name="T14" fmla="*/ 12928 w 17766"/>
                <a:gd name="T15" fmla="*/ 243 h 3831"/>
                <a:gd name="T16" fmla="*/ 12426 w 17766"/>
                <a:gd name="T17" fmla="*/ 2273 h 3831"/>
                <a:gd name="T18" fmla="*/ 11923 w 17766"/>
                <a:gd name="T19" fmla="*/ 3499 h 3831"/>
                <a:gd name="T20" fmla="*/ 11779 w 17766"/>
                <a:gd name="T21" fmla="*/ 2787 h 3831"/>
                <a:gd name="T22" fmla="*/ 11733 w 17766"/>
                <a:gd name="T23" fmla="*/ 2587 h 3831"/>
                <a:gd name="T24" fmla="*/ 11620 w 17766"/>
                <a:gd name="T25" fmla="*/ 2661 h 3831"/>
                <a:gd name="T26" fmla="*/ 11671 w 17766"/>
                <a:gd name="T27" fmla="*/ 3499 h 3831"/>
                <a:gd name="T28" fmla="*/ 11366 w 17766"/>
                <a:gd name="T29" fmla="*/ 2787 h 3831"/>
                <a:gd name="T30" fmla="*/ 11322 w 17766"/>
                <a:gd name="T31" fmla="*/ 2584 h 3831"/>
                <a:gd name="T32" fmla="*/ 11213 w 17766"/>
                <a:gd name="T33" fmla="*/ 2661 h 3831"/>
                <a:gd name="T34" fmla="*/ 11256 w 17766"/>
                <a:gd name="T35" fmla="*/ 3499 h 3831"/>
                <a:gd name="T36" fmla="*/ 10789 w 17766"/>
                <a:gd name="T37" fmla="*/ 2072 h 3831"/>
                <a:gd name="T38" fmla="*/ 10354 w 17766"/>
                <a:gd name="T39" fmla="*/ 2072 h 3831"/>
                <a:gd name="T40" fmla="*/ 9178 w 17766"/>
                <a:gd name="T41" fmla="*/ 675 h 3831"/>
                <a:gd name="T42" fmla="*/ 8856 w 17766"/>
                <a:gd name="T43" fmla="*/ 2085 h 3831"/>
                <a:gd name="T44" fmla="*/ 8756 w 17766"/>
                <a:gd name="T45" fmla="*/ 531 h 3831"/>
                <a:gd name="T46" fmla="*/ 8344 w 17766"/>
                <a:gd name="T47" fmla="*/ 1077 h 3831"/>
                <a:gd name="T48" fmla="*/ 7722 w 17766"/>
                <a:gd name="T49" fmla="*/ 2273 h 3831"/>
                <a:gd name="T50" fmla="*/ 7620 w 17766"/>
                <a:gd name="T51" fmla="*/ 560 h 3831"/>
                <a:gd name="T52" fmla="*/ 7218 w 17766"/>
                <a:gd name="T53" fmla="*/ 1077 h 3831"/>
                <a:gd name="T54" fmla="*/ 6997 w 17766"/>
                <a:gd name="T55" fmla="*/ 2725 h 3831"/>
                <a:gd name="T56" fmla="*/ 6715 w 17766"/>
                <a:gd name="T57" fmla="*/ 2193 h 3831"/>
                <a:gd name="T58" fmla="*/ 6503 w 17766"/>
                <a:gd name="T59" fmla="*/ 2297 h 3831"/>
                <a:gd name="T60" fmla="*/ 6376 w 17766"/>
                <a:gd name="T61" fmla="*/ 2101 h 3831"/>
                <a:gd name="T62" fmla="*/ 6165 w 17766"/>
                <a:gd name="T63" fmla="*/ 2101 h 3831"/>
                <a:gd name="T64" fmla="*/ 5898 w 17766"/>
                <a:gd name="T65" fmla="*/ 2192 h 3831"/>
                <a:gd name="T66" fmla="*/ 5816 w 17766"/>
                <a:gd name="T67" fmla="*/ 2190 h 3831"/>
                <a:gd name="T68" fmla="*/ 5720 w 17766"/>
                <a:gd name="T69" fmla="*/ 2549 h 3831"/>
                <a:gd name="T70" fmla="*/ 5380 w 17766"/>
                <a:gd name="T71" fmla="*/ 1389 h 3831"/>
                <a:gd name="T72" fmla="*/ 5046 w 17766"/>
                <a:gd name="T73" fmla="*/ 1630 h 3831"/>
                <a:gd name="T74" fmla="*/ 4272 w 17766"/>
                <a:gd name="T75" fmla="*/ 2273 h 3831"/>
                <a:gd name="T76" fmla="*/ 3438 w 17766"/>
                <a:gd name="T77" fmla="*/ 2725 h 3831"/>
                <a:gd name="T78" fmla="*/ 3347 w 17766"/>
                <a:gd name="T79" fmla="*/ 3082 h 3831"/>
                <a:gd name="T80" fmla="*/ 2895 w 17766"/>
                <a:gd name="T81" fmla="*/ 2725 h 3831"/>
                <a:gd name="T82" fmla="*/ 2895 w 17766"/>
                <a:gd name="T83" fmla="*/ 1832 h 3831"/>
                <a:gd name="T84" fmla="*/ 2382 w 17766"/>
                <a:gd name="T85" fmla="*/ 1630 h 3831"/>
                <a:gd name="T86" fmla="*/ 2382 w 17766"/>
                <a:gd name="T87" fmla="*/ 2273 h 3831"/>
                <a:gd name="T88" fmla="*/ 1936 w 17766"/>
                <a:gd name="T89" fmla="*/ 2273 h 3831"/>
                <a:gd name="T90" fmla="*/ 661 w 17766"/>
                <a:gd name="T91" fmla="*/ 3073 h 3831"/>
                <a:gd name="T92" fmla="*/ 523 w 17766"/>
                <a:gd name="T93" fmla="*/ 3174 h 3831"/>
                <a:gd name="T94" fmla="*/ 0 w 17766"/>
                <a:gd name="T95" fmla="*/ 3831 h 3831"/>
                <a:gd name="T96" fmla="*/ 17305 w 17766"/>
                <a:gd name="T97" fmla="*/ 3626 h 3831"/>
                <a:gd name="T98" fmla="*/ 5954 w 17766"/>
                <a:gd name="T99" fmla="*/ 2990 h 3831"/>
                <a:gd name="T100" fmla="*/ 6477 w 17766"/>
                <a:gd name="T101" fmla="*/ 3499 h 3831"/>
                <a:gd name="T102" fmla="*/ 12932 w 17766"/>
                <a:gd name="T103" fmla="*/ 1554 h 3831"/>
                <a:gd name="T104" fmla="*/ 14731 w 17766"/>
                <a:gd name="T105" fmla="*/ 1722 h 3831"/>
                <a:gd name="T106" fmla="*/ 14946 w 17766"/>
                <a:gd name="T107" fmla="*/ 1507 h 3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66" h="3831">
                  <a:moveTo>
                    <a:pt x="17305" y="3626"/>
                  </a:moveTo>
                  <a:cubicBezTo>
                    <a:pt x="17305" y="2902"/>
                    <a:pt x="17305" y="2902"/>
                    <a:pt x="17305" y="2902"/>
                  </a:cubicBezTo>
                  <a:cubicBezTo>
                    <a:pt x="17047" y="2902"/>
                    <a:pt x="17047" y="2902"/>
                    <a:pt x="17047" y="2902"/>
                  </a:cubicBezTo>
                  <a:cubicBezTo>
                    <a:pt x="17047" y="3029"/>
                    <a:pt x="17047" y="3029"/>
                    <a:pt x="17047" y="3029"/>
                  </a:cubicBezTo>
                  <a:cubicBezTo>
                    <a:pt x="16779" y="3029"/>
                    <a:pt x="16779" y="3029"/>
                    <a:pt x="16779" y="3029"/>
                  </a:cubicBezTo>
                  <a:cubicBezTo>
                    <a:pt x="16779" y="2752"/>
                    <a:pt x="16779" y="2752"/>
                    <a:pt x="16779" y="2752"/>
                  </a:cubicBezTo>
                  <a:cubicBezTo>
                    <a:pt x="16290" y="2752"/>
                    <a:pt x="16290" y="2752"/>
                    <a:pt x="16290" y="2752"/>
                  </a:cubicBezTo>
                  <a:cubicBezTo>
                    <a:pt x="16290" y="3227"/>
                    <a:pt x="16290" y="3227"/>
                    <a:pt x="16290" y="3227"/>
                  </a:cubicBezTo>
                  <a:cubicBezTo>
                    <a:pt x="15890" y="3227"/>
                    <a:pt x="15890" y="3227"/>
                    <a:pt x="15890" y="3227"/>
                  </a:cubicBezTo>
                  <a:cubicBezTo>
                    <a:pt x="15890" y="3499"/>
                    <a:pt x="15890" y="3499"/>
                    <a:pt x="15890" y="3499"/>
                  </a:cubicBezTo>
                  <a:cubicBezTo>
                    <a:pt x="15733" y="3499"/>
                    <a:pt x="15733" y="3499"/>
                    <a:pt x="15733" y="3499"/>
                  </a:cubicBezTo>
                  <a:cubicBezTo>
                    <a:pt x="15733" y="2939"/>
                    <a:pt x="15733" y="2939"/>
                    <a:pt x="15733" y="2939"/>
                  </a:cubicBezTo>
                  <a:cubicBezTo>
                    <a:pt x="15572" y="2787"/>
                    <a:pt x="15572" y="2787"/>
                    <a:pt x="15572" y="2787"/>
                  </a:cubicBezTo>
                  <a:cubicBezTo>
                    <a:pt x="15165" y="2963"/>
                    <a:pt x="15165" y="2963"/>
                    <a:pt x="15165" y="2963"/>
                  </a:cubicBezTo>
                  <a:cubicBezTo>
                    <a:pt x="15029" y="2963"/>
                    <a:pt x="15029" y="2963"/>
                    <a:pt x="15029" y="2963"/>
                  </a:cubicBezTo>
                  <a:cubicBezTo>
                    <a:pt x="15029" y="1229"/>
                    <a:pt x="15029" y="1229"/>
                    <a:pt x="15029" y="1229"/>
                  </a:cubicBezTo>
                  <a:cubicBezTo>
                    <a:pt x="14944" y="857"/>
                    <a:pt x="14731" y="0"/>
                    <a:pt x="14731" y="0"/>
                  </a:cubicBezTo>
                  <a:cubicBezTo>
                    <a:pt x="14436" y="1243"/>
                    <a:pt x="14436" y="1243"/>
                    <a:pt x="14436" y="1243"/>
                  </a:cubicBezTo>
                  <a:cubicBezTo>
                    <a:pt x="14436" y="2273"/>
                    <a:pt x="14436" y="2273"/>
                    <a:pt x="14436" y="2273"/>
                  </a:cubicBezTo>
                  <a:cubicBezTo>
                    <a:pt x="13240" y="2273"/>
                    <a:pt x="13240" y="2273"/>
                    <a:pt x="13240" y="2273"/>
                  </a:cubicBezTo>
                  <a:cubicBezTo>
                    <a:pt x="13194" y="2613"/>
                    <a:pt x="13194" y="2613"/>
                    <a:pt x="13194" y="2613"/>
                  </a:cubicBezTo>
                  <a:cubicBezTo>
                    <a:pt x="13119" y="2613"/>
                    <a:pt x="13119" y="2613"/>
                    <a:pt x="13119" y="2613"/>
                  </a:cubicBezTo>
                  <a:cubicBezTo>
                    <a:pt x="13119" y="1363"/>
                    <a:pt x="13119" y="1363"/>
                    <a:pt x="13119" y="1363"/>
                  </a:cubicBezTo>
                  <a:cubicBezTo>
                    <a:pt x="13090" y="1200"/>
                    <a:pt x="12928" y="243"/>
                    <a:pt x="12928" y="243"/>
                  </a:cubicBezTo>
                  <a:cubicBezTo>
                    <a:pt x="12739" y="1367"/>
                    <a:pt x="12739" y="1367"/>
                    <a:pt x="12739" y="1367"/>
                  </a:cubicBezTo>
                  <a:cubicBezTo>
                    <a:pt x="12739" y="2273"/>
                    <a:pt x="12739" y="2273"/>
                    <a:pt x="12739" y="2273"/>
                  </a:cubicBezTo>
                  <a:cubicBezTo>
                    <a:pt x="12426" y="2273"/>
                    <a:pt x="12426" y="2273"/>
                    <a:pt x="12426" y="2273"/>
                  </a:cubicBezTo>
                  <a:cubicBezTo>
                    <a:pt x="12315" y="2156"/>
                    <a:pt x="12315" y="2156"/>
                    <a:pt x="12315" y="2156"/>
                  </a:cubicBezTo>
                  <a:cubicBezTo>
                    <a:pt x="11923" y="2575"/>
                    <a:pt x="11923" y="2575"/>
                    <a:pt x="11923" y="2575"/>
                  </a:cubicBezTo>
                  <a:cubicBezTo>
                    <a:pt x="11923" y="3499"/>
                    <a:pt x="11923" y="3499"/>
                    <a:pt x="11923" y="3499"/>
                  </a:cubicBezTo>
                  <a:cubicBezTo>
                    <a:pt x="11724" y="3499"/>
                    <a:pt x="11724" y="3499"/>
                    <a:pt x="11724" y="3499"/>
                  </a:cubicBezTo>
                  <a:cubicBezTo>
                    <a:pt x="11724" y="2787"/>
                    <a:pt x="11724" y="2787"/>
                    <a:pt x="11724" y="2787"/>
                  </a:cubicBezTo>
                  <a:cubicBezTo>
                    <a:pt x="11779" y="2787"/>
                    <a:pt x="11779" y="2787"/>
                    <a:pt x="11779" y="2787"/>
                  </a:cubicBezTo>
                  <a:cubicBezTo>
                    <a:pt x="11779" y="2661"/>
                    <a:pt x="11779" y="2661"/>
                    <a:pt x="11779" y="2661"/>
                  </a:cubicBezTo>
                  <a:cubicBezTo>
                    <a:pt x="11733" y="2661"/>
                    <a:pt x="11733" y="2661"/>
                    <a:pt x="11733" y="2661"/>
                  </a:cubicBezTo>
                  <a:cubicBezTo>
                    <a:pt x="11733" y="2587"/>
                    <a:pt x="11733" y="2587"/>
                    <a:pt x="11733" y="2587"/>
                  </a:cubicBezTo>
                  <a:cubicBezTo>
                    <a:pt x="11671" y="2587"/>
                    <a:pt x="11671" y="2587"/>
                    <a:pt x="11671" y="2587"/>
                  </a:cubicBezTo>
                  <a:cubicBezTo>
                    <a:pt x="11671" y="2661"/>
                    <a:pt x="11671" y="2661"/>
                    <a:pt x="11671" y="2661"/>
                  </a:cubicBezTo>
                  <a:cubicBezTo>
                    <a:pt x="11620" y="2661"/>
                    <a:pt x="11620" y="2661"/>
                    <a:pt x="11620" y="2661"/>
                  </a:cubicBezTo>
                  <a:cubicBezTo>
                    <a:pt x="11620" y="2787"/>
                    <a:pt x="11620" y="2787"/>
                    <a:pt x="11620" y="2787"/>
                  </a:cubicBezTo>
                  <a:cubicBezTo>
                    <a:pt x="11671" y="2787"/>
                    <a:pt x="11671" y="2787"/>
                    <a:pt x="11671" y="2787"/>
                  </a:cubicBezTo>
                  <a:cubicBezTo>
                    <a:pt x="11671" y="3499"/>
                    <a:pt x="11671" y="3499"/>
                    <a:pt x="11671" y="3499"/>
                  </a:cubicBezTo>
                  <a:cubicBezTo>
                    <a:pt x="11319" y="3499"/>
                    <a:pt x="11319" y="3499"/>
                    <a:pt x="11319" y="3499"/>
                  </a:cubicBezTo>
                  <a:cubicBezTo>
                    <a:pt x="11319" y="2787"/>
                    <a:pt x="11319" y="2787"/>
                    <a:pt x="11319" y="2787"/>
                  </a:cubicBezTo>
                  <a:cubicBezTo>
                    <a:pt x="11366" y="2787"/>
                    <a:pt x="11366" y="2787"/>
                    <a:pt x="11366" y="2787"/>
                  </a:cubicBezTo>
                  <a:cubicBezTo>
                    <a:pt x="11366" y="2661"/>
                    <a:pt x="11366" y="2661"/>
                    <a:pt x="11366" y="2661"/>
                  </a:cubicBezTo>
                  <a:cubicBezTo>
                    <a:pt x="11322" y="2661"/>
                    <a:pt x="11322" y="2661"/>
                    <a:pt x="11322" y="2661"/>
                  </a:cubicBezTo>
                  <a:cubicBezTo>
                    <a:pt x="11322" y="2584"/>
                    <a:pt x="11322" y="2584"/>
                    <a:pt x="11322" y="2584"/>
                  </a:cubicBezTo>
                  <a:cubicBezTo>
                    <a:pt x="11269" y="2584"/>
                    <a:pt x="11269" y="2584"/>
                    <a:pt x="11269" y="2584"/>
                  </a:cubicBezTo>
                  <a:cubicBezTo>
                    <a:pt x="11269" y="2661"/>
                    <a:pt x="11269" y="2661"/>
                    <a:pt x="11269" y="2661"/>
                  </a:cubicBezTo>
                  <a:cubicBezTo>
                    <a:pt x="11213" y="2661"/>
                    <a:pt x="11213" y="2661"/>
                    <a:pt x="11213" y="2661"/>
                  </a:cubicBezTo>
                  <a:cubicBezTo>
                    <a:pt x="11213" y="2789"/>
                    <a:pt x="11213" y="2789"/>
                    <a:pt x="11213" y="2789"/>
                  </a:cubicBezTo>
                  <a:cubicBezTo>
                    <a:pt x="11256" y="2789"/>
                    <a:pt x="11256" y="2789"/>
                    <a:pt x="11256" y="2789"/>
                  </a:cubicBezTo>
                  <a:cubicBezTo>
                    <a:pt x="11256" y="3499"/>
                    <a:pt x="11256" y="3499"/>
                    <a:pt x="11256" y="3499"/>
                  </a:cubicBezTo>
                  <a:cubicBezTo>
                    <a:pt x="11088" y="3499"/>
                    <a:pt x="11088" y="3499"/>
                    <a:pt x="11088" y="3499"/>
                  </a:cubicBezTo>
                  <a:cubicBezTo>
                    <a:pt x="11088" y="2480"/>
                    <a:pt x="11088" y="2480"/>
                    <a:pt x="11088" y="2480"/>
                  </a:cubicBezTo>
                  <a:cubicBezTo>
                    <a:pt x="10789" y="2072"/>
                    <a:pt x="10789" y="2072"/>
                    <a:pt x="10789" y="2072"/>
                  </a:cubicBezTo>
                  <a:cubicBezTo>
                    <a:pt x="10426" y="2072"/>
                    <a:pt x="10426" y="2072"/>
                    <a:pt x="10426" y="2072"/>
                  </a:cubicBezTo>
                  <a:cubicBezTo>
                    <a:pt x="10384" y="1429"/>
                    <a:pt x="10384" y="1429"/>
                    <a:pt x="10384" y="1429"/>
                  </a:cubicBezTo>
                  <a:cubicBezTo>
                    <a:pt x="10354" y="2072"/>
                    <a:pt x="10354" y="2072"/>
                    <a:pt x="10354" y="2072"/>
                  </a:cubicBezTo>
                  <a:cubicBezTo>
                    <a:pt x="9250" y="2072"/>
                    <a:pt x="9250" y="2072"/>
                    <a:pt x="9250" y="2072"/>
                  </a:cubicBezTo>
                  <a:cubicBezTo>
                    <a:pt x="9250" y="1832"/>
                    <a:pt x="9250" y="1832"/>
                    <a:pt x="9250" y="1832"/>
                  </a:cubicBezTo>
                  <a:cubicBezTo>
                    <a:pt x="9178" y="675"/>
                    <a:pt x="9178" y="675"/>
                    <a:pt x="9178" y="675"/>
                  </a:cubicBezTo>
                  <a:cubicBezTo>
                    <a:pt x="9104" y="1832"/>
                    <a:pt x="9104" y="1832"/>
                    <a:pt x="9104" y="1832"/>
                  </a:cubicBezTo>
                  <a:cubicBezTo>
                    <a:pt x="9104" y="2085"/>
                    <a:pt x="9104" y="2085"/>
                    <a:pt x="9104" y="2085"/>
                  </a:cubicBezTo>
                  <a:cubicBezTo>
                    <a:pt x="8856" y="2085"/>
                    <a:pt x="8856" y="2085"/>
                    <a:pt x="8856" y="2085"/>
                  </a:cubicBezTo>
                  <a:cubicBezTo>
                    <a:pt x="8856" y="1077"/>
                    <a:pt x="8856" y="1077"/>
                    <a:pt x="8856" y="1077"/>
                  </a:cubicBezTo>
                  <a:cubicBezTo>
                    <a:pt x="8756" y="1077"/>
                    <a:pt x="8756" y="1077"/>
                    <a:pt x="8756" y="1077"/>
                  </a:cubicBezTo>
                  <a:cubicBezTo>
                    <a:pt x="8756" y="531"/>
                    <a:pt x="8756" y="531"/>
                    <a:pt x="8756" y="531"/>
                  </a:cubicBezTo>
                  <a:cubicBezTo>
                    <a:pt x="8756" y="531"/>
                    <a:pt x="8756" y="123"/>
                    <a:pt x="8560" y="123"/>
                  </a:cubicBezTo>
                  <a:cubicBezTo>
                    <a:pt x="8364" y="123"/>
                    <a:pt x="8344" y="541"/>
                    <a:pt x="8344" y="541"/>
                  </a:cubicBezTo>
                  <a:cubicBezTo>
                    <a:pt x="8344" y="1077"/>
                    <a:pt x="8344" y="1077"/>
                    <a:pt x="8344" y="1077"/>
                  </a:cubicBezTo>
                  <a:cubicBezTo>
                    <a:pt x="8243" y="1077"/>
                    <a:pt x="8243" y="1077"/>
                    <a:pt x="8243" y="1077"/>
                  </a:cubicBezTo>
                  <a:cubicBezTo>
                    <a:pt x="8243" y="2273"/>
                    <a:pt x="8243" y="2273"/>
                    <a:pt x="8243" y="2273"/>
                  </a:cubicBezTo>
                  <a:cubicBezTo>
                    <a:pt x="7722" y="2273"/>
                    <a:pt x="7722" y="2273"/>
                    <a:pt x="7722" y="2273"/>
                  </a:cubicBezTo>
                  <a:cubicBezTo>
                    <a:pt x="7722" y="1077"/>
                    <a:pt x="7722" y="1077"/>
                    <a:pt x="7722" y="1077"/>
                  </a:cubicBezTo>
                  <a:cubicBezTo>
                    <a:pt x="7620" y="1077"/>
                    <a:pt x="7620" y="1077"/>
                    <a:pt x="7620" y="1077"/>
                  </a:cubicBezTo>
                  <a:cubicBezTo>
                    <a:pt x="7620" y="560"/>
                    <a:pt x="7620" y="560"/>
                    <a:pt x="7620" y="560"/>
                  </a:cubicBezTo>
                  <a:cubicBezTo>
                    <a:pt x="7620" y="560"/>
                    <a:pt x="7620" y="123"/>
                    <a:pt x="7419" y="123"/>
                  </a:cubicBezTo>
                  <a:cubicBezTo>
                    <a:pt x="7218" y="123"/>
                    <a:pt x="7218" y="557"/>
                    <a:pt x="7218" y="557"/>
                  </a:cubicBezTo>
                  <a:cubicBezTo>
                    <a:pt x="7218" y="1077"/>
                    <a:pt x="7218" y="1077"/>
                    <a:pt x="7218" y="1077"/>
                  </a:cubicBezTo>
                  <a:cubicBezTo>
                    <a:pt x="7107" y="1077"/>
                    <a:pt x="7107" y="1077"/>
                    <a:pt x="7107" y="1077"/>
                  </a:cubicBezTo>
                  <a:cubicBezTo>
                    <a:pt x="7107" y="2725"/>
                    <a:pt x="7107" y="2725"/>
                    <a:pt x="7107" y="2725"/>
                  </a:cubicBezTo>
                  <a:cubicBezTo>
                    <a:pt x="6997" y="2725"/>
                    <a:pt x="6997" y="2725"/>
                    <a:pt x="6997" y="2725"/>
                  </a:cubicBezTo>
                  <a:cubicBezTo>
                    <a:pt x="6997" y="2533"/>
                    <a:pt x="6997" y="2533"/>
                    <a:pt x="6997" y="2533"/>
                  </a:cubicBezTo>
                  <a:cubicBezTo>
                    <a:pt x="6715" y="2533"/>
                    <a:pt x="6715" y="2533"/>
                    <a:pt x="6715" y="2533"/>
                  </a:cubicBezTo>
                  <a:cubicBezTo>
                    <a:pt x="6715" y="2193"/>
                    <a:pt x="6715" y="2193"/>
                    <a:pt x="6715" y="2193"/>
                  </a:cubicBezTo>
                  <a:cubicBezTo>
                    <a:pt x="6592" y="2193"/>
                    <a:pt x="6592" y="2193"/>
                    <a:pt x="6592" y="2193"/>
                  </a:cubicBezTo>
                  <a:cubicBezTo>
                    <a:pt x="6592" y="2297"/>
                    <a:pt x="6592" y="2297"/>
                    <a:pt x="6592" y="2297"/>
                  </a:cubicBezTo>
                  <a:cubicBezTo>
                    <a:pt x="6503" y="2297"/>
                    <a:pt x="6503" y="2297"/>
                    <a:pt x="6503" y="2297"/>
                  </a:cubicBezTo>
                  <a:cubicBezTo>
                    <a:pt x="6503" y="2196"/>
                    <a:pt x="6503" y="2196"/>
                    <a:pt x="6503" y="2196"/>
                  </a:cubicBezTo>
                  <a:cubicBezTo>
                    <a:pt x="6376" y="2196"/>
                    <a:pt x="6376" y="2196"/>
                    <a:pt x="6376" y="2196"/>
                  </a:cubicBezTo>
                  <a:cubicBezTo>
                    <a:pt x="6376" y="2101"/>
                    <a:pt x="6376" y="2101"/>
                    <a:pt x="6376" y="2101"/>
                  </a:cubicBezTo>
                  <a:cubicBezTo>
                    <a:pt x="6270" y="2101"/>
                    <a:pt x="6270" y="2101"/>
                    <a:pt x="6270" y="2101"/>
                  </a:cubicBezTo>
                  <a:cubicBezTo>
                    <a:pt x="6213" y="1983"/>
                    <a:pt x="6213" y="1983"/>
                    <a:pt x="6213" y="1983"/>
                  </a:cubicBezTo>
                  <a:cubicBezTo>
                    <a:pt x="6165" y="2101"/>
                    <a:pt x="6165" y="2101"/>
                    <a:pt x="6165" y="2101"/>
                  </a:cubicBezTo>
                  <a:cubicBezTo>
                    <a:pt x="6063" y="2101"/>
                    <a:pt x="6063" y="2101"/>
                    <a:pt x="6063" y="2101"/>
                  </a:cubicBezTo>
                  <a:cubicBezTo>
                    <a:pt x="6063" y="2192"/>
                    <a:pt x="6063" y="2192"/>
                    <a:pt x="6063" y="2192"/>
                  </a:cubicBezTo>
                  <a:cubicBezTo>
                    <a:pt x="5898" y="2192"/>
                    <a:pt x="5898" y="2192"/>
                    <a:pt x="5898" y="2192"/>
                  </a:cubicBezTo>
                  <a:cubicBezTo>
                    <a:pt x="5898" y="2293"/>
                    <a:pt x="5898" y="2293"/>
                    <a:pt x="5898" y="2293"/>
                  </a:cubicBezTo>
                  <a:cubicBezTo>
                    <a:pt x="5816" y="2293"/>
                    <a:pt x="5816" y="2293"/>
                    <a:pt x="5816" y="2293"/>
                  </a:cubicBezTo>
                  <a:cubicBezTo>
                    <a:pt x="5816" y="2190"/>
                    <a:pt x="5816" y="2190"/>
                    <a:pt x="5816" y="2190"/>
                  </a:cubicBezTo>
                  <a:cubicBezTo>
                    <a:pt x="5720" y="2190"/>
                    <a:pt x="5720" y="2190"/>
                    <a:pt x="5720" y="2190"/>
                  </a:cubicBezTo>
                  <a:cubicBezTo>
                    <a:pt x="5720" y="2273"/>
                    <a:pt x="5720" y="2273"/>
                    <a:pt x="5720" y="2273"/>
                  </a:cubicBezTo>
                  <a:cubicBezTo>
                    <a:pt x="5720" y="2549"/>
                    <a:pt x="5720" y="2549"/>
                    <a:pt x="5720" y="2549"/>
                  </a:cubicBezTo>
                  <a:cubicBezTo>
                    <a:pt x="5599" y="2549"/>
                    <a:pt x="5599" y="2549"/>
                    <a:pt x="5599" y="2549"/>
                  </a:cubicBezTo>
                  <a:cubicBezTo>
                    <a:pt x="5599" y="1630"/>
                    <a:pt x="5599" y="1630"/>
                    <a:pt x="5599" y="1630"/>
                  </a:cubicBezTo>
                  <a:cubicBezTo>
                    <a:pt x="5380" y="1389"/>
                    <a:pt x="5380" y="1389"/>
                    <a:pt x="5380" y="1389"/>
                  </a:cubicBezTo>
                  <a:cubicBezTo>
                    <a:pt x="5333" y="850"/>
                    <a:pt x="5333" y="850"/>
                    <a:pt x="5333" y="850"/>
                  </a:cubicBezTo>
                  <a:cubicBezTo>
                    <a:pt x="5296" y="1383"/>
                    <a:pt x="5296" y="1383"/>
                    <a:pt x="5296" y="1383"/>
                  </a:cubicBezTo>
                  <a:cubicBezTo>
                    <a:pt x="5046" y="1630"/>
                    <a:pt x="5046" y="1630"/>
                    <a:pt x="5046" y="1630"/>
                  </a:cubicBezTo>
                  <a:cubicBezTo>
                    <a:pt x="5046" y="2273"/>
                    <a:pt x="5046" y="2273"/>
                    <a:pt x="5046" y="2273"/>
                  </a:cubicBezTo>
                  <a:cubicBezTo>
                    <a:pt x="5046" y="2273"/>
                    <a:pt x="5046" y="2725"/>
                    <a:pt x="4659" y="2725"/>
                  </a:cubicBezTo>
                  <a:cubicBezTo>
                    <a:pt x="4272" y="2725"/>
                    <a:pt x="4272" y="2273"/>
                    <a:pt x="4272" y="2273"/>
                  </a:cubicBezTo>
                  <a:cubicBezTo>
                    <a:pt x="3589" y="2273"/>
                    <a:pt x="3589" y="2273"/>
                    <a:pt x="3589" y="2273"/>
                  </a:cubicBezTo>
                  <a:cubicBezTo>
                    <a:pt x="3589" y="2725"/>
                    <a:pt x="3589" y="2725"/>
                    <a:pt x="3589" y="2725"/>
                  </a:cubicBezTo>
                  <a:cubicBezTo>
                    <a:pt x="3438" y="2725"/>
                    <a:pt x="3438" y="2725"/>
                    <a:pt x="3438" y="2725"/>
                  </a:cubicBezTo>
                  <a:cubicBezTo>
                    <a:pt x="3438" y="3499"/>
                    <a:pt x="3438" y="3499"/>
                    <a:pt x="3438" y="3499"/>
                  </a:cubicBezTo>
                  <a:cubicBezTo>
                    <a:pt x="3347" y="3499"/>
                    <a:pt x="3347" y="3499"/>
                    <a:pt x="3347" y="3499"/>
                  </a:cubicBezTo>
                  <a:cubicBezTo>
                    <a:pt x="3347" y="3082"/>
                    <a:pt x="3347" y="3082"/>
                    <a:pt x="3347" y="3082"/>
                  </a:cubicBezTo>
                  <a:cubicBezTo>
                    <a:pt x="3156" y="3082"/>
                    <a:pt x="3156" y="3082"/>
                    <a:pt x="3156" y="3082"/>
                  </a:cubicBezTo>
                  <a:cubicBezTo>
                    <a:pt x="3156" y="2894"/>
                    <a:pt x="3156" y="2894"/>
                    <a:pt x="3156" y="2894"/>
                  </a:cubicBezTo>
                  <a:cubicBezTo>
                    <a:pt x="2895" y="2725"/>
                    <a:pt x="2895" y="2725"/>
                    <a:pt x="2895" y="2725"/>
                  </a:cubicBezTo>
                  <a:cubicBezTo>
                    <a:pt x="2895" y="2273"/>
                    <a:pt x="2895" y="2273"/>
                    <a:pt x="2895" y="2273"/>
                  </a:cubicBezTo>
                  <a:cubicBezTo>
                    <a:pt x="2895" y="2273"/>
                    <a:pt x="2960" y="2229"/>
                    <a:pt x="2960" y="2072"/>
                  </a:cubicBezTo>
                  <a:cubicBezTo>
                    <a:pt x="2960" y="1915"/>
                    <a:pt x="2895" y="1832"/>
                    <a:pt x="2895" y="1832"/>
                  </a:cubicBezTo>
                  <a:cubicBezTo>
                    <a:pt x="2895" y="1630"/>
                    <a:pt x="2895" y="1630"/>
                    <a:pt x="2895" y="1630"/>
                  </a:cubicBezTo>
                  <a:cubicBezTo>
                    <a:pt x="2895" y="1630"/>
                    <a:pt x="2828" y="1481"/>
                    <a:pt x="2634" y="1481"/>
                  </a:cubicBezTo>
                  <a:cubicBezTo>
                    <a:pt x="2440" y="1481"/>
                    <a:pt x="2382" y="1630"/>
                    <a:pt x="2382" y="1630"/>
                  </a:cubicBezTo>
                  <a:cubicBezTo>
                    <a:pt x="2382" y="1832"/>
                    <a:pt x="2382" y="1832"/>
                    <a:pt x="2382" y="1832"/>
                  </a:cubicBezTo>
                  <a:cubicBezTo>
                    <a:pt x="2382" y="1832"/>
                    <a:pt x="2320" y="1931"/>
                    <a:pt x="2320" y="2072"/>
                  </a:cubicBezTo>
                  <a:cubicBezTo>
                    <a:pt x="2320" y="2213"/>
                    <a:pt x="2382" y="2273"/>
                    <a:pt x="2382" y="2273"/>
                  </a:cubicBezTo>
                  <a:cubicBezTo>
                    <a:pt x="2382" y="2725"/>
                    <a:pt x="2382" y="2725"/>
                    <a:pt x="2382" y="2725"/>
                  </a:cubicBezTo>
                  <a:cubicBezTo>
                    <a:pt x="2219" y="2725"/>
                    <a:pt x="2219" y="2725"/>
                    <a:pt x="2219" y="2725"/>
                  </a:cubicBezTo>
                  <a:cubicBezTo>
                    <a:pt x="2219" y="2725"/>
                    <a:pt x="2194" y="2273"/>
                    <a:pt x="1936" y="2273"/>
                  </a:cubicBezTo>
                  <a:cubicBezTo>
                    <a:pt x="1677" y="2273"/>
                    <a:pt x="1635" y="2725"/>
                    <a:pt x="1635" y="2725"/>
                  </a:cubicBezTo>
                  <a:cubicBezTo>
                    <a:pt x="955" y="2725"/>
                    <a:pt x="955" y="2725"/>
                    <a:pt x="955" y="2725"/>
                  </a:cubicBezTo>
                  <a:cubicBezTo>
                    <a:pt x="661" y="3073"/>
                    <a:pt x="661" y="3073"/>
                    <a:pt x="661" y="3073"/>
                  </a:cubicBezTo>
                  <a:cubicBezTo>
                    <a:pt x="618" y="2273"/>
                    <a:pt x="618" y="2273"/>
                    <a:pt x="618" y="2273"/>
                  </a:cubicBezTo>
                  <a:cubicBezTo>
                    <a:pt x="578" y="3073"/>
                    <a:pt x="578" y="3073"/>
                    <a:pt x="578" y="3073"/>
                  </a:cubicBezTo>
                  <a:cubicBezTo>
                    <a:pt x="523" y="3174"/>
                    <a:pt x="523" y="3174"/>
                    <a:pt x="523" y="3174"/>
                  </a:cubicBezTo>
                  <a:cubicBezTo>
                    <a:pt x="523" y="3499"/>
                    <a:pt x="523" y="3499"/>
                    <a:pt x="523" y="3499"/>
                  </a:cubicBezTo>
                  <a:cubicBezTo>
                    <a:pt x="0" y="3499"/>
                    <a:pt x="0" y="3499"/>
                    <a:pt x="0" y="3499"/>
                  </a:cubicBezTo>
                  <a:cubicBezTo>
                    <a:pt x="0" y="3831"/>
                    <a:pt x="0" y="3831"/>
                    <a:pt x="0" y="3831"/>
                  </a:cubicBezTo>
                  <a:cubicBezTo>
                    <a:pt x="17766" y="3831"/>
                    <a:pt x="17766" y="3831"/>
                    <a:pt x="17766" y="3831"/>
                  </a:cubicBezTo>
                  <a:cubicBezTo>
                    <a:pt x="17766" y="3626"/>
                    <a:pt x="17766" y="3626"/>
                    <a:pt x="17766" y="3626"/>
                  </a:cubicBezTo>
                  <a:lnTo>
                    <a:pt x="17305" y="3626"/>
                  </a:lnTo>
                  <a:close/>
                  <a:moveTo>
                    <a:pt x="6477" y="3499"/>
                  </a:moveTo>
                  <a:cubicBezTo>
                    <a:pt x="5954" y="3499"/>
                    <a:pt x="5954" y="3499"/>
                    <a:pt x="5954" y="3499"/>
                  </a:cubicBezTo>
                  <a:cubicBezTo>
                    <a:pt x="5954" y="2990"/>
                    <a:pt x="5954" y="2990"/>
                    <a:pt x="5954" y="2990"/>
                  </a:cubicBezTo>
                  <a:cubicBezTo>
                    <a:pt x="5954" y="2990"/>
                    <a:pt x="5958" y="2787"/>
                    <a:pt x="6213" y="2787"/>
                  </a:cubicBezTo>
                  <a:cubicBezTo>
                    <a:pt x="6467" y="2787"/>
                    <a:pt x="6477" y="2993"/>
                    <a:pt x="6477" y="2993"/>
                  </a:cubicBezTo>
                  <a:lnTo>
                    <a:pt x="6477" y="3499"/>
                  </a:lnTo>
                  <a:close/>
                  <a:moveTo>
                    <a:pt x="12932" y="1831"/>
                  </a:moveTo>
                  <a:cubicBezTo>
                    <a:pt x="12855" y="1831"/>
                    <a:pt x="12793" y="1769"/>
                    <a:pt x="12793" y="1693"/>
                  </a:cubicBezTo>
                  <a:cubicBezTo>
                    <a:pt x="12793" y="1616"/>
                    <a:pt x="12855" y="1554"/>
                    <a:pt x="12932" y="1554"/>
                  </a:cubicBezTo>
                  <a:cubicBezTo>
                    <a:pt x="13008" y="1554"/>
                    <a:pt x="13070" y="1616"/>
                    <a:pt x="13070" y="1693"/>
                  </a:cubicBezTo>
                  <a:cubicBezTo>
                    <a:pt x="13070" y="1769"/>
                    <a:pt x="13008" y="1831"/>
                    <a:pt x="12932" y="1831"/>
                  </a:cubicBezTo>
                  <a:close/>
                  <a:moveTo>
                    <a:pt x="14731" y="1722"/>
                  </a:moveTo>
                  <a:cubicBezTo>
                    <a:pt x="14613" y="1722"/>
                    <a:pt x="14517" y="1626"/>
                    <a:pt x="14517" y="1507"/>
                  </a:cubicBezTo>
                  <a:cubicBezTo>
                    <a:pt x="14517" y="1389"/>
                    <a:pt x="14613" y="1293"/>
                    <a:pt x="14731" y="1293"/>
                  </a:cubicBezTo>
                  <a:cubicBezTo>
                    <a:pt x="14850" y="1293"/>
                    <a:pt x="14946" y="1389"/>
                    <a:pt x="14946" y="1507"/>
                  </a:cubicBezTo>
                  <a:cubicBezTo>
                    <a:pt x="14946" y="1626"/>
                    <a:pt x="14850" y="1722"/>
                    <a:pt x="14731" y="17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grpSp>
    </p:spTree>
    <p:extLst>
      <p:ext uri="{BB962C8B-B14F-4D97-AF65-F5344CB8AC3E}">
        <p14:creationId xmlns:p14="http://schemas.microsoft.com/office/powerpoint/2010/main" val="1701795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3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Freeform 17"/>
          <p:cNvSpPr>
            <a:spLocks/>
          </p:cNvSpPr>
          <p:nvPr/>
        </p:nvSpPr>
        <p:spPr bwMode="auto">
          <a:xfrm>
            <a:off x="0" y="5002829"/>
            <a:ext cx="11059584" cy="1576387"/>
          </a:xfrm>
          <a:custGeom>
            <a:avLst/>
            <a:gdLst>
              <a:gd name="T0" fmla="*/ 1314 w 2880"/>
              <a:gd name="T1" fmla="*/ 512 h 545"/>
              <a:gd name="T2" fmla="*/ 1202 w 2880"/>
              <a:gd name="T3" fmla="*/ 512 h 545"/>
              <a:gd name="T4" fmla="*/ 1084 w 2880"/>
              <a:gd name="T5" fmla="*/ 512 h 545"/>
              <a:gd name="T6" fmla="*/ 972 w 2880"/>
              <a:gd name="T7" fmla="*/ 512 h 545"/>
              <a:gd name="T8" fmla="*/ 0 w 2880"/>
              <a:gd name="T9" fmla="*/ 173 h 545"/>
              <a:gd name="T10" fmla="*/ 159 w 2880"/>
              <a:gd name="T11" fmla="*/ 259 h 545"/>
              <a:gd name="T12" fmla="*/ 276 w 2880"/>
              <a:gd name="T13" fmla="*/ 346 h 545"/>
              <a:gd name="T14" fmla="*/ 399 w 2880"/>
              <a:gd name="T15" fmla="*/ 354 h 545"/>
              <a:gd name="T16" fmla="*/ 435 w 2880"/>
              <a:gd name="T17" fmla="*/ 258 h 545"/>
              <a:gd name="T18" fmla="*/ 457 w 2880"/>
              <a:gd name="T19" fmla="*/ 209 h 545"/>
              <a:gd name="T20" fmla="*/ 532 w 2880"/>
              <a:gd name="T21" fmla="*/ 204 h 545"/>
              <a:gd name="T22" fmla="*/ 583 w 2880"/>
              <a:gd name="T23" fmla="*/ 375 h 545"/>
              <a:gd name="T24" fmla="*/ 620 w 2880"/>
              <a:gd name="T25" fmla="*/ 298 h 545"/>
              <a:gd name="T26" fmla="*/ 656 w 2880"/>
              <a:gd name="T27" fmla="*/ 258 h 545"/>
              <a:gd name="T28" fmla="*/ 718 w 2880"/>
              <a:gd name="T29" fmla="*/ 272 h 545"/>
              <a:gd name="T30" fmla="*/ 718 w 2880"/>
              <a:gd name="T31" fmla="*/ 310 h 545"/>
              <a:gd name="T32" fmla="*/ 751 w 2880"/>
              <a:gd name="T33" fmla="*/ 388 h 545"/>
              <a:gd name="T34" fmla="*/ 917 w 2880"/>
              <a:gd name="T35" fmla="*/ 375 h 545"/>
              <a:gd name="T36" fmla="*/ 964 w 2880"/>
              <a:gd name="T37" fmla="*/ 395 h 545"/>
              <a:gd name="T38" fmla="*/ 1021 w 2880"/>
              <a:gd name="T39" fmla="*/ 419 h 545"/>
              <a:gd name="T40" fmla="*/ 1084 w 2880"/>
              <a:gd name="T41" fmla="*/ 412 h 545"/>
              <a:gd name="T42" fmla="*/ 1175 w 2880"/>
              <a:gd name="T43" fmla="*/ 415 h 545"/>
              <a:gd name="T44" fmla="*/ 1210 w 2880"/>
              <a:gd name="T45" fmla="*/ 497 h 545"/>
              <a:gd name="T46" fmla="*/ 1225 w 2880"/>
              <a:gd name="T47" fmla="*/ 443 h 545"/>
              <a:gd name="T48" fmla="*/ 1280 w 2880"/>
              <a:gd name="T49" fmla="*/ 406 h 545"/>
              <a:gd name="T50" fmla="*/ 1349 w 2880"/>
              <a:gd name="T51" fmla="*/ 406 h 545"/>
              <a:gd name="T52" fmla="*/ 1369 w 2880"/>
              <a:gd name="T53" fmla="*/ 396 h 545"/>
              <a:gd name="T54" fmla="*/ 1415 w 2880"/>
              <a:gd name="T55" fmla="*/ 355 h 545"/>
              <a:gd name="T56" fmla="*/ 1548 w 2880"/>
              <a:gd name="T57" fmla="*/ 307 h 545"/>
              <a:gd name="T58" fmla="*/ 1550 w 2880"/>
              <a:gd name="T59" fmla="*/ 271 h 545"/>
              <a:gd name="T60" fmla="*/ 1559 w 2880"/>
              <a:gd name="T61" fmla="*/ 272 h 545"/>
              <a:gd name="T62" fmla="*/ 1562 w 2880"/>
              <a:gd name="T63" fmla="*/ 306 h 545"/>
              <a:gd name="T64" fmla="*/ 1616 w 2880"/>
              <a:gd name="T65" fmla="*/ 375 h 545"/>
              <a:gd name="T66" fmla="*/ 1696 w 2880"/>
              <a:gd name="T67" fmla="*/ 321 h 545"/>
              <a:gd name="T68" fmla="*/ 1704 w 2880"/>
              <a:gd name="T69" fmla="*/ 166 h 545"/>
              <a:gd name="T70" fmla="*/ 1725 w 2880"/>
              <a:gd name="T71" fmla="*/ 104 h 545"/>
              <a:gd name="T72" fmla="*/ 1778 w 2880"/>
              <a:gd name="T73" fmla="*/ 83 h 545"/>
              <a:gd name="T74" fmla="*/ 1786 w 2880"/>
              <a:gd name="T75" fmla="*/ 164 h 545"/>
              <a:gd name="T76" fmla="*/ 1802 w 2880"/>
              <a:gd name="T77" fmla="*/ 257 h 545"/>
              <a:gd name="T78" fmla="*/ 1805 w 2880"/>
              <a:gd name="T79" fmla="*/ 104 h 545"/>
              <a:gd name="T80" fmla="*/ 1844 w 2880"/>
              <a:gd name="T81" fmla="*/ 58 h 545"/>
              <a:gd name="T82" fmla="*/ 1878 w 2880"/>
              <a:gd name="T83" fmla="*/ 104 h 545"/>
              <a:gd name="T84" fmla="*/ 1886 w 2880"/>
              <a:gd name="T85" fmla="*/ 258 h 545"/>
              <a:gd name="T86" fmla="*/ 2018 w 2880"/>
              <a:gd name="T87" fmla="*/ 241 h 545"/>
              <a:gd name="T88" fmla="*/ 2028 w 2880"/>
              <a:gd name="T89" fmla="*/ 192 h 545"/>
              <a:gd name="T90" fmla="*/ 2035 w 2880"/>
              <a:gd name="T91" fmla="*/ 150 h 545"/>
              <a:gd name="T92" fmla="*/ 2051 w 2880"/>
              <a:gd name="T93" fmla="*/ 192 h 545"/>
              <a:gd name="T94" fmla="*/ 2064 w 2880"/>
              <a:gd name="T95" fmla="*/ 241 h 545"/>
              <a:gd name="T96" fmla="*/ 2077 w 2880"/>
              <a:gd name="T97" fmla="*/ 258 h 545"/>
              <a:gd name="T98" fmla="*/ 2136 w 2880"/>
              <a:gd name="T99" fmla="*/ 333 h 545"/>
              <a:gd name="T100" fmla="*/ 2221 w 2880"/>
              <a:gd name="T101" fmla="*/ 363 h 545"/>
              <a:gd name="T102" fmla="*/ 2295 w 2880"/>
              <a:gd name="T103" fmla="*/ 391 h 545"/>
              <a:gd name="T104" fmla="*/ 2377 w 2880"/>
              <a:gd name="T105" fmla="*/ 363 h 545"/>
              <a:gd name="T106" fmla="*/ 2419 w 2880"/>
              <a:gd name="T107" fmla="*/ 423 h 545"/>
              <a:gd name="T108" fmla="*/ 2557 w 2880"/>
              <a:gd name="T109" fmla="*/ 311 h 545"/>
              <a:gd name="T110" fmla="*/ 2647 w 2880"/>
              <a:gd name="T111" fmla="*/ 326 h 545"/>
              <a:gd name="T112" fmla="*/ 2707 w 2880"/>
              <a:gd name="T113" fmla="*/ 386 h 545"/>
              <a:gd name="T114" fmla="*/ 2800 w 2880"/>
              <a:gd name="T115" fmla="*/ 481 h 545"/>
              <a:gd name="T116" fmla="*/ 2880 w 2880"/>
              <a:gd name="T117" fmla="*/ 471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0" h="545">
                <a:moveTo>
                  <a:pt x="2537" y="545"/>
                </a:moveTo>
                <a:cubicBezTo>
                  <a:pt x="1363" y="545"/>
                  <a:pt x="1363" y="545"/>
                  <a:pt x="1363" y="545"/>
                </a:cubicBezTo>
                <a:cubicBezTo>
                  <a:pt x="1363" y="527"/>
                  <a:pt x="1341" y="512"/>
                  <a:pt x="1314" y="512"/>
                </a:cubicBezTo>
                <a:cubicBezTo>
                  <a:pt x="1286" y="512"/>
                  <a:pt x="1264" y="527"/>
                  <a:pt x="1264" y="545"/>
                </a:cubicBezTo>
                <a:cubicBezTo>
                  <a:pt x="1252" y="545"/>
                  <a:pt x="1252" y="545"/>
                  <a:pt x="1252" y="545"/>
                </a:cubicBezTo>
                <a:cubicBezTo>
                  <a:pt x="1252" y="527"/>
                  <a:pt x="1229" y="512"/>
                  <a:pt x="1202" y="512"/>
                </a:cubicBezTo>
                <a:cubicBezTo>
                  <a:pt x="1175" y="512"/>
                  <a:pt x="1153" y="527"/>
                  <a:pt x="1153" y="545"/>
                </a:cubicBezTo>
                <a:cubicBezTo>
                  <a:pt x="1133" y="545"/>
                  <a:pt x="1133" y="545"/>
                  <a:pt x="1133" y="545"/>
                </a:cubicBezTo>
                <a:cubicBezTo>
                  <a:pt x="1133" y="527"/>
                  <a:pt x="1111" y="512"/>
                  <a:pt x="1084" y="512"/>
                </a:cubicBezTo>
                <a:cubicBezTo>
                  <a:pt x="1057" y="512"/>
                  <a:pt x="1035" y="527"/>
                  <a:pt x="1035" y="545"/>
                </a:cubicBezTo>
                <a:cubicBezTo>
                  <a:pt x="1021" y="545"/>
                  <a:pt x="1021" y="545"/>
                  <a:pt x="1021" y="545"/>
                </a:cubicBezTo>
                <a:cubicBezTo>
                  <a:pt x="1021" y="527"/>
                  <a:pt x="999" y="512"/>
                  <a:pt x="972" y="512"/>
                </a:cubicBezTo>
                <a:cubicBezTo>
                  <a:pt x="945" y="512"/>
                  <a:pt x="923" y="527"/>
                  <a:pt x="923" y="545"/>
                </a:cubicBezTo>
                <a:cubicBezTo>
                  <a:pt x="0" y="545"/>
                  <a:pt x="0" y="545"/>
                  <a:pt x="0" y="545"/>
                </a:cubicBezTo>
                <a:cubicBezTo>
                  <a:pt x="0" y="173"/>
                  <a:pt x="0" y="173"/>
                  <a:pt x="0" y="173"/>
                </a:cubicBezTo>
                <a:cubicBezTo>
                  <a:pt x="32" y="162"/>
                  <a:pt x="32" y="162"/>
                  <a:pt x="32" y="162"/>
                </a:cubicBezTo>
                <a:cubicBezTo>
                  <a:pt x="112" y="259"/>
                  <a:pt x="112" y="259"/>
                  <a:pt x="112" y="259"/>
                </a:cubicBezTo>
                <a:cubicBezTo>
                  <a:pt x="159" y="259"/>
                  <a:pt x="159" y="259"/>
                  <a:pt x="159" y="259"/>
                </a:cubicBezTo>
                <a:cubicBezTo>
                  <a:pt x="187" y="281"/>
                  <a:pt x="187" y="281"/>
                  <a:pt x="187" y="281"/>
                </a:cubicBezTo>
                <a:cubicBezTo>
                  <a:pt x="232" y="306"/>
                  <a:pt x="232" y="306"/>
                  <a:pt x="232" y="306"/>
                </a:cubicBezTo>
                <a:cubicBezTo>
                  <a:pt x="276" y="346"/>
                  <a:pt x="276" y="346"/>
                  <a:pt x="276" y="346"/>
                </a:cubicBezTo>
                <a:cubicBezTo>
                  <a:pt x="319" y="334"/>
                  <a:pt x="319" y="334"/>
                  <a:pt x="319" y="334"/>
                </a:cubicBezTo>
                <a:cubicBezTo>
                  <a:pt x="363" y="387"/>
                  <a:pt x="363" y="387"/>
                  <a:pt x="363" y="387"/>
                </a:cubicBezTo>
                <a:cubicBezTo>
                  <a:pt x="399" y="354"/>
                  <a:pt x="399" y="354"/>
                  <a:pt x="399" y="354"/>
                </a:cubicBezTo>
                <a:cubicBezTo>
                  <a:pt x="418" y="287"/>
                  <a:pt x="418" y="287"/>
                  <a:pt x="418" y="287"/>
                </a:cubicBezTo>
                <a:cubicBezTo>
                  <a:pt x="426" y="258"/>
                  <a:pt x="426" y="258"/>
                  <a:pt x="426" y="258"/>
                </a:cubicBezTo>
                <a:cubicBezTo>
                  <a:pt x="435" y="258"/>
                  <a:pt x="435" y="258"/>
                  <a:pt x="435" y="258"/>
                </a:cubicBezTo>
                <a:cubicBezTo>
                  <a:pt x="446" y="304"/>
                  <a:pt x="446" y="304"/>
                  <a:pt x="446" y="304"/>
                </a:cubicBezTo>
                <a:cubicBezTo>
                  <a:pt x="457" y="304"/>
                  <a:pt x="457" y="304"/>
                  <a:pt x="457" y="304"/>
                </a:cubicBezTo>
                <a:cubicBezTo>
                  <a:pt x="457" y="209"/>
                  <a:pt x="457" y="209"/>
                  <a:pt x="457" y="209"/>
                </a:cubicBezTo>
                <a:cubicBezTo>
                  <a:pt x="469" y="206"/>
                  <a:pt x="469" y="206"/>
                  <a:pt x="469" y="206"/>
                </a:cubicBezTo>
                <a:cubicBezTo>
                  <a:pt x="500" y="0"/>
                  <a:pt x="500" y="0"/>
                  <a:pt x="500" y="0"/>
                </a:cubicBezTo>
                <a:cubicBezTo>
                  <a:pt x="532" y="204"/>
                  <a:pt x="532" y="204"/>
                  <a:pt x="532" y="204"/>
                </a:cubicBezTo>
                <a:cubicBezTo>
                  <a:pt x="546" y="205"/>
                  <a:pt x="546" y="205"/>
                  <a:pt x="546" y="205"/>
                </a:cubicBezTo>
                <a:cubicBezTo>
                  <a:pt x="546" y="337"/>
                  <a:pt x="546" y="337"/>
                  <a:pt x="546" y="337"/>
                </a:cubicBezTo>
                <a:cubicBezTo>
                  <a:pt x="583" y="375"/>
                  <a:pt x="583" y="375"/>
                  <a:pt x="583" y="375"/>
                </a:cubicBezTo>
                <a:cubicBezTo>
                  <a:pt x="639" y="375"/>
                  <a:pt x="639" y="375"/>
                  <a:pt x="639" y="375"/>
                </a:cubicBezTo>
                <a:cubicBezTo>
                  <a:pt x="639" y="311"/>
                  <a:pt x="639" y="311"/>
                  <a:pt x="639" y="311"/>
                </a:cubicBezTo>
                <a:cubicBezTo>
                  <a:pt x="639" y="311"/>
                  <a:pt x="620" y="307"/>
                  <a:pt x="620" y="298"/>
                </a:cubicBezTo>
                <a:cubicBezTo>
                  <a:pt x="620" y="290"/>
                  <a:pt x="639" y="286"/>
                  <a:pt x="639" y="286"/>
                </a:cubicBezTo>
                <a:cubicBezTo>
                  <a:pt x="639" y="275"/>
                  <a:pt x="639" y="275"/>
                  <a:pt x="639" y="275"/>
                </a:cubicBezTo>
                <a:cubicBezTo>
                  <a:pt x="656" y="258"/>
                  <a:pt x="656" y="258"/>
                  <a:pt x="656" y="258"/>
                </a:cubicBezTo>
                <a:cubicBezTo>
                  <a:pt x="680" y="180"/>
                  <a:pt x="680" y="180"/>
                  <a:pt x="680" y="180"/>
                </a:cubicBezTo>
                <a:cubicBezTo>
                  <a:pt x="699" y="258"/>
                  <a:pt x="699" y="258"/>
                  <a:pt x="699" y="258"/>
                </a:cubicBezTo>
                <a:cubicBezTo>
                  <a:pt x="718" y="272"/>
                  <a:pt x="718" y="272"/>
                  <a:pt x="718" y="272"/>
                </a:cubicBezTo>
                <a:cubicBezTo>
                  <a:pt x="718" y="286"/>
                  <a:pt x="718" y="286"/>
                  <a:pt x="718" y="286"/>
                </a:cubicBezTo>
                <a:cubicBezTo>
                  <a:pt x="718" y="286"/>
                  <a:pt x="734" y="290"/>
                  <a:pt x="734" y="299"/>
                </a:cubicBezTo>
                <a:cubicBezTo>
                  <a:pt x="734" y="308"/>
                  <a:pt x="718" y="310"/>
                  <a:pt x="718" y="310"/>
                </a:cubicBezTo>
                <a:cubicBezTo>
                  <a:pt x="718" y="403"/>
                  <a:pt x="718" y="403"/>
                  <a:pt x="718" y="403"/>
                </a:cubicBezTo>
                <a:cubicBezTo>
                  <a:pt x="737" y="403"/>
                  <a:pt x="737" y="403"/>
                  <a:pt x="737" y="403"/>
                </a:cubicBezTo>
                <a:cubicBezTo>
                  <a:pt x="751" y="388"/>
                  <a:pt x="751" y="388"/>
                  <a:pt x="751" y="388"/>
                </a:cubicBezTo>
                <a:cubicBezTo>
                  <a:pt x="789" y="388"/>
                  <a:pt x="789" y="388"/>
                  <a:pt x="789" y="388"/>
                </a:cubicBezTo>
                <a:cubicBezTo>
                  <a:pt x="789" y="375"/>
                  <a:pt x="789" y="375"/>
                  <a:pt x="789" y="375"/>
                </a:cubicBezTo>
                <a:cubicBezTo>
                  <a:pt x="917" y="375"/>
                  <a:pt x="917" y="375"/>
                  <a:pt x="917" y="375"/>
                </a:cubicBezTo>
                <a:cubicBezTo>
                  <a:pt x="917" y="383"/>
                  <a:pt x="917" y="383"/>
                  <a:pt x="917" y="383"/>
                </a:cubicBezTo>
                <a:cubicBezTo>
                  <a:pt x="954" y="383"/>
                  <a:pt x="954" y="383"/>
                  <a:pt x="954" y="383"/>
                </a:cubicBezTo>
                <a:cubicBezTo>
                  <a:pt x="964" y="395"/>
                  <a:pt x="964" y="395"/>
                  <a:pt x="964" y="395"/>
                </a:cubicBezTo>
                <a:cubicBezTo>
                  <a:pt x="964" y="435"/>
                  <a:pt x="964" y="435"/>
                  <a:pt x="964" y="435"/>
                </a:cubicBezTo>
                <a:cubicBezTo>
                  <a:pt x="1006" y="435"/>
                  <a:pt x="1006" y="435"/>
                  <a:pt x="1006" y="435"/>
                </a:cubicBezTo>
                <a:cubicBezTo>
                  <a:pt x="1021" y="419"/>
                  <a:pt x="1021" y="419"/>
                  <a:pt x="1021" y="419"/>
                </a:cubicBezTo>
                <a:cubicBezTo>
                  <a:pt x="1036" y="431"/>
                  <a:pt x="1036" y="431"/>
                  <a:pt x="1036" y="431"/>
                </a:cubicBezTo>
                <a:cubicBezTo>
                  <a:pt x="1065" y="431"/>
                  <a:pt x="1065" y="431"/>
                  <a:pt x="1065" y="431"/>
                </a:cubicBezTo>
                <a:cubicBezTo>
                  <a:pt x="1084" y="412"/>
                  <a:pt x="1084" y="412"/>
                  <a:pt x="1084" y="412"/>
                </a:cubicBezTo>
                <a:cubicBezTo>
                  <a:pt x="1104" y="429"/>
                  <a:pt x="1104" y="429"/>
                  <a:pt x="1104" y="429"/>
                </a:cubicBezTo>
                <a:cubicBezTo>
                  <a:pt x="1161" y="429"/>
                  <a:pt x="1161" y="429"/>
                  <a:pt x="1161" y="429"/>
                </a:cubicBezTo>
                <a:cubicBezTo>
                  <a:pt x="1175" y="415"/>
                  <a:pt x="1175" y="415"/>
                  <a:pt x="1175" y="415"/>
                </a:cubicBezTo>
                <a:cubicBezTo>
                  <a:pt x="1188" y="427"/>
                  <a:pt x="1188" y="427"/>
                  <a:pt x="1188" y="427"/>
                </a:cubicBezTo>
                <a:cubicBezTo>
                  <a:pt x="1210" y="427"/>
                  <a:pt x="1210" y="427"/>
                  <a:pt x="1210" y="427"/>
                </a:cubicBezTo>
                <a:cubicBezTo>
                  <a:pt x="1210" y="497"/>
                  <a:pt x="1210" y="497"/>
                  <a:pt x="1210" y="497"/>
                </a:cubicBezTo>
                <a:cubicBezTo>
                  <a:pt x="1246" y="497"/>
                  <a:pt x="1246" y="497"/>
                  <a:pt x="1246" y="497"/>
                </a:cubicBezTo>
                <a:cubicBezTo>
                  <a:pt x="1246" y="443"/>
                  <a:pt x="1246" y="443"/>
                  <a:pt x="1246" y="443"/>
                </a:cubicBezTo>
                <a:cubicBezTo>
                  <a:pt x="1225" y="443"/>
                  <a:pt x="1225" y="443"/>
                  <a:pt x="1225" y="443"/>
                </a:cubicBezTo>
                <a:cubicBezTo>
                  <a:pt x="1251" y="427"/>
                  <a:pt x="1251" y="427"/>
                  <a:pt x="1251" y="427"/>
                </a:cubicBezTo>
                <a:cubicBezTo>
                  <a:pt x="1251" y="406"/>
                  <a:pt x="1251" y="406"/>
                  <a:pt x="1251" y="406"/>
                </a:cubicBezTo>
                <a:cubicBezTo>
                  <a:pt x="1280" y="406"/>
                  <a:pt x="1280" y="406"/>
                  <a:pt x="1280" y="406"/>
                </a:cubicBezTo>
                <a:cubicBezTo>
                  <a:pt x="1299" y="390"/>
                  <a:pt x="1299" y="390"/>
                  <a:pt x="1299" y="390"/>
                </a:cubicBezTo>
                <a:cubicBezTo>
                  <a:pt x="1319" y="406"/>
                  <a:pt x="1319" y="406"/>
                  <a:pt x="1319" y="406"/>
                </a:cubicBezTo>
                <a:cubicBezTo>
                  <a:pt x="1349" y="406"/>
                  <a:pt x="1349" y="406"/>
                  <a:pt x="1349" y="406"/>
                </a:cubicBezTo>
                <a:cubicBezTo>
                  <a:pt x="1349" y="431"/>
                  <a:pt x="1349" y="431"/>
                  <a:pt x="1349" y="431"/>
                </a:cubicBezTo>
                <a:cubicBezTo>
                  <a:pt x="1369" y="431"/>
                  <a:pt x="1369" y="431"/>
                  <a:pt x="1369" y="431"/>
                </a:cubicBezTo>
                <a:cubicBezTo>
                  <a:pt x="1369" y="396"/>
                  <a:pt x="1369" y="396"/>
                  <a:pt x="1369" y="396"/>
                </a:cubicBezTo>
                <a:cubicBezTo>
                  <a:pt x="1390" y="375"/>
                  <a:pt x="1390" y="375"/>
                  <a:pt x="1390" y="375"/>
                </a:cubicBezTo>
                <a:cubicBezTo>
                  <a:pt x="1390" y="355"/>
                  <a:pt x="1390" y="355"/>
                  <a:pt x="1390" y="355"/>
                </a:cubicBezTo>
                <a:cubicBezTo>
                  <a:pt x="1415" y="355"/>
                  <a:pt x="1415" y="355"/>
                  <a:pt x="1415" y="355"/>
                </a:cubicBezTo>
                <a:cubicBezTo>
                  <a:pt x="1445" y="329"/>
                  <a:pt x="1445" y="329"/>
                  <a:pt x="1445" y="329"/>
                </a:cubicBezTo>
                <a:cubicBezTo>
                  <a:pt x="1548" y="329"/>
                  <a:pt x="1548" y="329"/>
                  <a:pt x="1548" y="329"/>
                </a:cubicBezTo>
                <a:cubicBezTo>
                  <a:pt x="1548" y="307"/>
                  <a:pt x="1548" y="307"/>
                  <a:pt x="1548" y="307"/>
                </a:cubicBezTo>
                <a:cubicBezTo>
                  <a:pt x="1540" y="307"/>
                  <a:pt x="1540" y="307"/>
                  <a:pt x="1540" y="307"/>
                </a:cubicBezTo>
                <a:cubicBezTo>
                  <a:pt x="1540" y="271"/>
                  <a:pt x="1540" y="271"/>
                  <a:pt x="1540" y="271"/>
                </a:cubicBezTo>
                <a:cubicBezTo>
                  <a:pt x="1550" y="271"/>
                  <a:pt x="1550" y="271"/>
                  <a:pt x="1550" y="271"/>
                </a:cubicBezTo>
                <a:cubicBezTo>
                  <a:pt x="1550" y="244"/>
                  <a:pt x="1550" y="244"/>
                  <a:pt x="1550" y="244"/>
                </a:cubicBezTo>
                <a:cubicBezTo>
                  <a:pt x="1559" y="244"/>
                  <a:pt x="1559" y="244"/>
                  <a:pt x="1559" y="244"/>
                </a:cubicBezTo>
                <a:cubicBezTo>
                  <a:pt x="1559" y="272"/>
                  <a:pt x="1559" y="272"/>
                  <a:pt x="1559" y="272"/>
                </a:cubicBezTo>
                <a:cubicBezTo>
                  <a:pt x="1569" y="272"/>
                  <a:pt x="1569" y="272"/>
                  <a:pt x="1569" y="272"/>
                </a:cubicBezTo>
                <a:cubicBezTo>
                  <a:pt x="1569" y="306"/>
                  <a:pt x="1569" y="306"/>
                  <a:pt x="1569" y="306"/>
                </a:cubicBezTo>
                <a:cubicBezTo>
                  <a:pt x="1562" y="306"/>
                  <a:pt x="1562" y="306"/>
                  <a:pt x="1562" y="306"/>
                </a:cubicBezTo>
                <a:cubicBezTo>
                  <a:pt x="1562" y="329"/>
                  <a:pt x="1562" y="329"/>
                  <a:pt x="1562" y="329"/>
                </a:cubicBezTo>
                <a:cubicBezTo>
                  <a:pt x="1588" y="329"/>
                  <a:pt x="1588" y="329"/>
                  <a:pt x="1588" y="329"/>
                </a:cubicBezTo>
                <a:cubicBezTo>
                  <a:pt x="1616" y="375"/>
                  <a:pt x="1616" y="375"/>
                  <a:pt x="1616" y="375"/>
                </a:cubicBezTo>
                <a:cubicBezTo>
                  <a:pt x="1676" y="375"/>
                  <a:pt x="1676" y="375"/>
                  <a:pt x="1676" y="375"/>
                </a:cubicBezTo>
                <a:cubicBezTo>
                  <a:pt x="1676" y="329"/>
                  <a:pt x="1676" y="329"/>
                  <a:pt x="1676" y="329"/>
                </a:cubicBezTo>
                <a:cubicBezTo>
                  <a:pt x="1696" y="321"/>
                  <a:pt x="1696" y="321"/>
                  <a:pt x="1696" y="321"/>
                </a:cubicBezTo>
                <a:cubicBezTo>
                  <a:pt x="1696" y="258"/>
                  <a:pt x="1696" y="258"/>
                  <a:pt x="1696" y="258"/>
                </a:cubicBezTo>
                <a:cubicBezTo>
                  <a:pt x="1704" y="258"/>
                  <a:pt x="1704" y="258"/>
                  <a:pt x="1704" y="258"/>
                </a:cubicBezTo>
                <a:cubicBezTo>
                  <a:pt x="1704" y="166"/>
                  <a:pt x="1704" y="166"/>
                  <a:pt x="1704" y="166"/>
                </a:cubicBezTo>
                <a:cubicBezTo>
                  <a:pt x="1713" y="166"/>
                  <a:pt x="1713" y="166"/>
                  <a:pt x="1713" y="166"/>
                </a:cubicBezTo>
                <a:cubicBezTo>
                  <a:pt x="1713" y="104"/>
                  <a:pt x="1713" y="104"/>
                  <a:pt x="1713" y="104"/>
                </a:cubicBezTo>
                <a:cubicBezTo>
                  <a:pt x="1725" y="104"/>
                  <a:pt x="1725" y="104"/>
                  <a:pt x="1725" y="104"/>
                </a:cubicBezTo>
                <a:cubicBezTo>
                  <a:pt x="1725" y="83"/>
                  <a:pt x="1725" y="83"/>
                  <a:pt x="1725" y="83"/>
                </a:cubicBezTo>
                <a:cubicBezTo>
                  <a:pt x="1725" y="83"/>
                  <a:pt x="1725" y="58"/>
                  <a:pt x="1751" y="58"/>
                </a:cubicBezTo>
                <a:cubicBezTo>
                  <a:pt x="1776" y="58"/>
                  <a:pt x="1778" y="83"/>
                  <a:pt x="1778" y="83"/>
                </a:cubicBezTo>
                <a:cubicBezTo>
                  <a:pt x="1778" y="104"/>
                  <a:pt x="1778" y="104"/>
                  <a:pt x="1778" y="104"/>
                </a:cubicBezTo>
                <a:cubicBezTo>
                  <a:pt x="1786" y="104"/>
                  <a:pt x="1786" y="104"/>
                  <a:pt x="1786" y="104"/>
                </a:cubicBezTo>
                <a:cubicBezTo>
                  <a:pt x="1786" y="164"/>
                  <a:pt x="1786" y="164"/>
                  <a:pt x="1786" y="164"/>
                </a:cubicBezTo>
                <a:cubicBezTo>
                  <a:pt x="1793" y="164"/>
                  <a:pt x="1793" y="164"/>
                  <a:pt x="1793" y="164"/>
                </a:cubicBezTo>
                <a:cubicBezTo>
                  <a:pt x="1793" y="257"/>
                  <a:pt x="1793" y="257"/>
                  <a:pt x="1793" y="257"/>
                </a:cubicBezTo>
                <a:cubicBezTo>
                  <a:pt x="1802" y="257"/>
                  <a:pt x="1802" y="257"/>
                  <a:pt x="1802" y="257"/>
                </a:cubicBezTo>
                <a:cubicBezTo>
                  <a:pt x="1802" y="164"/>
                  <a:pt x="1802" y="164"/>
                  <a:pt x="1802" y="164"/>
                </a:cubicBezTo>
                <a:cubicBezTo>
                  <a:pt x="1805" y="164"/>
                  <a:pt x="1805" y="164"/>
                  <a:pt x="1805" y="164"/>
                </a:cubicBezTo>
                <a:cubicBezTo>
                  <a:pt x="1805" y="104"/>
                  <a:pt x="1805" y="104"/>
                  <a:pt x="1805" y="104"/>
                </a:cubicBezTo>
                <a:cubicBezTo>
                  <a:pt x="1819" y="104"/>
                  <a:pt x="1819" y="104"/>
                  <a:pt x="1819" y="104"/>
                </a:cubicBezTo>
                <a:cubicBezTo>
                  <a:pt x="1819" y="83"/>
                  <a:pt x="1819" y="83"/>
                  <a:pt x="1819" y="83"/>
                </a:cubicBezTo>
                <a:cubicBezTo>
                  <a:pt x="1819" y="83"/>
                  <a:pt x="1819" y="58"/>
                  <a:pt x="1844" y="58"/>
                </a:cubicBezTo>
                <a:cubicBezTo>
                  <a:pt x="1870" y="58"/>
                  <a:pt x="1872" y="83"/>
                  <a:pt x="1872" y="83"/>
                </a:cubicBezTo>
                <a:cubicBezTo>
                  <a:pt x="1872" y="104"/>
                  <a:pt x="1872" y="104"/>
                  <a:pt x="1872" y="104"/>
                </a:cubicBezTo>
                <a:cubicBezTo>
                  <a:pt x="1878" y="104"/>
                  <a:pt x="1878" y="104"/>
                  <a:pt x="1878" y="104"/>
                </a:cubicBezTo>
                <a:cubicBezTo>
                  <a:pt x="1878" y="167"/>
                  <a:pt x="1878" y="167"/>
                  <a:pt x="1878" y="167"/>
                </a:cubicBezTo>
                <a:cubicBezTo>
                  <a:pt x="1886" y="167"/>
                  <a:pt x="1886" y="167"/>
                  <a:pt x="1886" y="167"/>
                </a:cubicBezTo>
                <a:cubicBezTo>
                  <a:pt x="1886" y="258"/>
                  <a:pt x="1886" y="258"/>
                  <a:pt x="1886" y="258"/>
                </a:cubicBezTo>
                <a:cubicBezTo>
                  <a:pt x="2028" y="258"/>
                  <a:pt x="2028" y="258"/>
                  <a:pt x="2028" y="258"/>
                </a:cubicBezTo>
                <a:cubicBezTo>
                  <a:pt x="2028" y="241"/>
                  <a:pt x="2028" y="241"/>
                  <a:pt x="2028" y="241"/>
                </a:cubicBezTo>
                <a:cubicBezTo>
                  <a:pt x="2018" y="241"/>
                  <a:pt x="2018" y="241"/>
                  <a:pt x="2018" y="241"/>
                </a:cubicBezTo>
                <a:cubicBezTo>
                  <a:pt x="2018" y="230"/>
                  <a:pt x="2018" y="230"/>
                  <a:pt x="2018" y="230"/>
                </a:cubicBezTo>
                <a:cubicBezTo>
                  <a:pt x="2028" y="230"/>
                  <a:pt x="2028" y="230"/>
                  <a:pt x="2028" y="230"/>
                </a:cubicBezTo>
                <a:cubicBezTo>
                  <a:pt x="2028" y="192"/>
                  <a:pt x="2028" y="192"/>
                  <a:pt x="2028" y="192"/>
                </a:cubicBezTo>
                <a:cubicBezTo>
                  <a:pt x="2035" y="192"/>
                  <a:pt x="2035" y="192"/>
                  <a:pt x="2035" y="192"/>
                </a:cubicBezTo>
                <a:cubicBezTo>
                  <a:pt x="2035" y="158"/>
                  <a:pt x="2035" y="158"/>
                  <a:pt x="2035" y="158"/>
                </a:cubicBezTo>
                <a:cubicBezTo>
                  <a:pt x="2035" y="150"/>
                  <a:pt x="2035" y="150"/>
                  <a:pt x="2035" y="150"/>
                </a:cubicBezTo>
                <a:cubicBezTo>
                  <a:pt x="2046" y="150"/>
                  <a:pt x="2046" y="150"/>
                  <a:pt x="2046" y="150"/>
                </a:cubicBezTo>
                <a:cubicBezTo>
                  <a:pt x="2046" y="192"/>
                  <a:pt x="2046" y="192"/>
                  <a:pt x="2046" y="192"/>
                </a:cubicBezTo>
                <a:cubicBezTo>
                  <a:pt x="2051" y="192"/>
                  <a:pt x="2051" y="192"/>
                  <a:pt x="2051" y="192"/>
                </a:cubicBezTo>
                <a:cubicBezTo>
                  <a:pt x="2051" y="230"/>
                  <a:pt x="2051" y="230"/>
                  <a:pt x="2051" y="230"/>
                </a:cubicBezTo>
                <a:cubicBezTo>
                  <a:pt x="2064" y="230"/>
                  <a:pt x="2064" y="230"/>
                  <a:pt x="2064" y="230"/>
                </a:cubicBezTo>
                <a:cubicBezTo>
                  <a:pt x="2064" y="241"/>
                  <a:pt x="2064" y="241"/>
                  <a:pt x="2064" y="241"/>
                </a:cubicBezTo>
                <a:cubicBezTo>
                  <a:pt x="2051" y="241"/>
                  <a:pt x="2051" y="241"/>
                  <a:pt x="2051" y="241"/>
                </a:cubicBezTo>
                <a:cubicBezTo>
                  <a:pt x="2051" y="258"/>
                  <a:pt x="2051" y="258"/>
                  <a:pt x="2051" y="258"/>
                </a:cubicBezTo>
                <a:cubicBezTo>
                  <a:pt x="2077" y="258"/>
                  <a:pt x="2077" y="258"/>
                  <a:pt x="2077" y="258"/>
                </a:cubicBezTo>
                <a:cubicBezTo>
                  <a:pt x="2104" y="286"/>
                  <a:pt x="2104" y="286"/>
                  <a:pt x="2104" y="286"/>
                </a:cubicBezTo>
                <a:cubicBezTo>
                  <a:pt x="2136" y="286"/>
                  <a:pt x="2136" y="286"/>
                  <a:pt x="2136" y="286"/>
                </a:cubicBezTo>
                <a:cubicBezTo>
                  <a:pt x="2136" y="333"/>
                  <a:pt x="2136" y="333"/>
                  <a:pt x="2136" y="333"/>
                </a:cubicBezTo>
                <a:cubicBezTo>
                  <a:pt x="2178" y="333"/>
                  <a:pt x="2178" y="333"/>
                  <a:pt x="2178" y="333"/>
                </a:cubicBezTo>
                <a:cubicBezTo>
                  <a:pt x="2178" y="363"/>
                  <a:pt x="2178" y="363"/>
                  <a:pt x="2178" y="363"/>
                </a:cubicBezTo>
                <a:cubicBezTo>
                  <a:pt x="2221" y="363"/>
                  <a:pt x="2221" y="363"/>
                  <a:pt x="2221" y="363"/>
                </a:cubicBezTo>
                <a:cubicBezTo>
                  <a:pt x="2221" y="343"/>
                  <a:pt x="2221" y="343"/>
                  <a:pt x="2221" y="343"/>
                </a:cubicBezTo>
                <a:cubicBezTo>
                  <a:pt x="2243" y="343"/>
                  <a:pt x="2243" y="343"/>
                  <a:pt x="2243" y="343"/>
                </a:cubicBezTo>
                <a:cubicBezTo>
                  <a:pt x="2295" y="391"/>
                  <a:pt x="2295" y="391"/>
                  <a:pt x="2295" y="391"/>
                </a:cubicBezTo>
                <a:cubicBezTo>
                  <a:pt x="2312" y="391"/>
                  <a:pt x="2312" y="391"/>
                  <a:pt x="2312" y="391"/>
                </a:cubicBezTo>
                <a:cubicBezTo>
                  <a:pt x="2312" y="363"/>
                  <a:pt x="2312" y="363"/>
                  <a:pt x="2312" y="363"/>
                </a:cubicBezTo>
                <a:cubicBezTo>
                  <a:pt x="2377" y="363"/>
                  <a:pt x="2377" y="363"/>
                  <a:pt x="2377" y="363"/>
                </a:cubicBezTo>
                <a:cubicBezTo>
                  <a:pt x="2377" y="453"/>
                  <a:pt x="2377" y="453"/>
                  <a:pt x="2377" y="453"/>
                </a:cubicBezTo>
                <a:cubicBezTo>
                  <a:pt x="2419" y="453"/>
                  <a:pt x="2419" y="453"/>
                  <a:pt x="2419" y="453"/>
                </a:cubicBezTo>
                <a:cubicBezTo>
                  <a:pt x="2419" y="423"/>
                  <a:pt x="2419" y="423"/>
                  <a:pt x="2419" y="423"/>
                </a:cubicBezTo>
                <a:cubicBezTo>
                  <a:pt x="2477" y="423"/>
                  <a:pt x="2477" y="423"/>
                  <a:pt x="2477" y="423"/>
                </a:cubicBezTo>
                <a:cubicBezTo>
                  <a:pt x="2512" y="311"/>
                  <a:pt x="2512" y="311"/>
                  <a:pt x="2512" y="311"/>
                </a:cubicBezTo>
                <a:cubicBezTo>
                  <a:pt x="2557" y="311"/>
                  <a:pt x="2557" y="311"/>
                  <a:pt x="2557" y="311"/>
                </a:cubicBezTo>
                <a:cubicBezTo>
                  <a:pt x="2587" y="341"/>
                  <a:pt x="2587" y="341"/>
                  <a:pt x="2587" y="341"/>
                </a:cubicBezTo>
                <a:cubicBezTo>
                  <a:pt x="2625" y="341"/>
                  <a:pt x="2625" y="341"/>
                  <a:pt x="2625" y="341"/>
                </a:cubicBezTo>
                <a:cubicBezTo>
                  <a:pt x="2647" y="326"/>
                  <a:pt x="2647" y="326"/>
                  <a:pt x="2647" y="326"/>
                </a:cubicBezTo>
                <a:cubicBezTo>
                  <a:pt x="2669" y="342"/>
                  <a:pt x="2669" y="342"/>
                  <a:pt x="2669" y="342"/>
                </a:cubicBezTo>
                <a:cubicBezTo>
                  <a:pt x="2707" y="342"/>
                  <a:pt x="2707" y="342"/>
                  <a:pt x="2707" y="342"/>
                </a:cubicBezTo>
                <a:cubicBezTo>
                  <a:pt x="2707" y="386"/>
                  <a:pt x="2707" y="386"/>
                  <a:pt x="2707" y="386"/>
                </a:cubicBezTo>
                <a:cubicBezTo>
                  <a:pt x="2743" y="386"/>
                  <a:pt x="2743" y="386"/>
                  <a:pt x="2743" y="386"/>
                </a:cubicBezTo>
                <a:cubicBezTo>
                  <a:pt x="2743" y="433"/>
                  <a:pt x="2743" y="433"/>
                  <a:pt x="2743" y="433"/>
                </a:cubicBezTo>
                <a:cubicBezTo>
                  <a:pt x="2800" y="481"/>
                  <a:pt x="2800" y="481"/>
                  <a:pt x="2800" y="481"/>
                </a:cubicBezTo>
                <a:cubicBezTo>
                  <a:pt x="2800" y="450"/>
                  <a:pt x="2800" y="450"/>
                  <a:pt x="2800" y="450"/>
                </a:cubicBezTo>
                <a:cubicBezTo>
                  <a:pt x="2880" y="450"/>
                  <a:pt x="2880" y="450"/>
                  <a:pt x="2880" y="450"/>
                </a:cubicBezTo>
                <a:cubicBezTo>
                  <a:pt x="2880" y="471"/>
                  <a:pt x="2880" y="471"/>
                  <a:pt x="2880" y="471"/>
                </a:cubicBezTo>
                <a:cubicBezTo>
                  <a:pt x="2880" y="545"/>
                  <a:pt x="2880" y="545"/>
                  <a:pt x="2880" y="545"/>
                </a:cubicBezTo>
                <a:lnTo>
                  <a:pt x="2537" y="545"/>
                </a:lnTo>
                <a:close/>
              </a:path>
            </a:pathLst>
          </a:custGeom>
          <a:solidFill>
            <a:schemeClr val="tx1">
              <a:alpha val="29000"/>
            </a:schemeClr>
          </a:solidFill>
          <a:ln>
            <a:noFill/>
          </a:ln>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Tree>
    <p:extLst>
      <p:ext uri="{BB962C8B-B14F-4D97-AF65-F5344CB8AC3E}">
        <p14:creationId xmlns:p14="http://schemas.microsoft.com/office/powerpoint/2010/main" val="25028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4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Freeform 5"/>
          <p:cNvSpPr>
            <a:spLocks/>
          </p:cNvSpPr>
          <p:nvPr/>
        </p:nvSpPr>
        <p:spPr bwMode="auto">
          <a:xfrm>
            <a:off x="21167" y="5022218"/>
            <a:ext cx="11004549" cy="1550358"/>
          </a:xfrm>
          <a:custGeom>
            <a:avLst/>
            <a:gdLst>
              <a:gd name="T0" fmla="*/ 565 w 2915"/>
              <a:gd name="T1" fmla="*/ 281 h 545"/>
              <a:gd name="T2" fmla="*/ 697 w 2915"/>
              <a:gd name="T3" fmla="*/ 334 h 545"/>
              <a:gd name="T4" fmla="*/ 796 w 2915"/>
              <a:gd name="T5" fmla="*/ 287 h 545"/>
              <a:gd name="T6" fmla="*/ 824 w 2915"/>
              <a:gd name="T7" fmla="*/ 304 h 545"/>
              <a:gd name="T8" fmla="*/ 847 w 2915"/>
              <a:gd name="T9" fmla="*/ 206 h 545"/>
              <a:gd name="T10" fmla="*/ 924 w 2915"/>
              <a:gd name="T11" fmla="*/ 205 h 545"/>
              <a:gd name="T12" fmla="*/ 1017 w 2915"/>
              <a:gd name="T13" fmla="*/ 375 h 545"/>
              <a:gd name="T14" fmla="*/ 1017 w 2915"/>
              <a:gd name="T15" fmla="*/ 286 h 545"/>
              <a:gd name="T16" fmla="*/ 1058 w 2915"/>
              <a:gd name="T17" fmla="*/ 180 h 545"/>
              <a:gd name="T18" fmla="*/ 1096 w 2915"/>
              <a:gd name="T19" fmla="*/ 286 h 545"/>
              <a:gd name="T20" fmla="*/ 1096 w 2915"/>
              <a:gd name="T21" fmla="*/ 403 h 545"/>
              <a:gd name="T22" fmla="*/ 1167 w 2915"/>
              <a:gd name="T23" fmla="*/ 388 h 545"/>
              <a:gd name="T24" fmla="*/ 1295 w 2915"/>
              <a:gd name="T25" fmla="*/ 383 h 545"/>
              <a:gd name="T26" fmla="*/ 1342 w 2915"/>
              <a:gd name="T27" fmla="*/ 435 h 545"/>
              <a:gd name="T28" fmla="*/ 1414 w 2915"/>
              <a:gd name="T29" fmla="*/ 431 h 545"/>
              <a:gd name="T30" fmla="*/ 1482 w 2915"/>
              <a:gd name="T31" fmla="*/ 429 h 545"/>
              <a:gd name="T32" fmla="*/ 1566 w 2915"/>
              <a:gd name="T33" fmla="*/ 427 h 545"/>
              <a:gd name="T34" fmla="*/ 1624 w 2915"/>
              <a:gd name="T35" fmla="*/ 497 h 545"/>
              <a:gd name="T36" fmla="*/ 1629 w 2915"/>
              <a:gd name="T37" fmla="*/ 427 h 545"/>
              <a:gd name="T38" fmla="*/ 1677 w 2915"/>
              <a:gd name="T39" fmla="*/ 390 h 545"/>
              <a:gd name="T40" fmla="*/ 1727 w 2915"/>
              <a:gd name="T41" fmla="*/ 431 h 545"/>
              <a:gd name="T42" fmla="*/ 1768 w 2915"/>
              <a:gd name="T43" fmla="*/ 375 h 545"/>
              <a:gd name="T44" fmla="*/ 1823 w 2915"/>
              <a:gd name="T45" fmla="*/ 329 h 545"/>
              <a:gd name="T46" fmla="*/ 1918 w 2915"/>
              <a:gd name="T47" fmla="*/ 307 h 545"/>
              <a:gd name="T48" fmla="*/ 1928 w 2915"/>
              <a:gd name="T49" fmla="*/ 244 h 545"/>
              <a:gd name="T50" fmla="*/ 1947 w 2915"/>
              <a:gd name="T51" fmla="*/ 272 h 545"/>
              <a:gd name="T52" fmla="*/ 1940 w 2915"/>
              <a:gd name="T53" fmla="*/ 329 h 545"/>
              <a:gd name="T54" fmla="*/ 2054 w 2915"/>
              <a:gd name="T55" fmla="*/ 375 h 545"/>
              <a:gd name="T56" fmla="*/ 2074 w 2915"/>
              <a:gd name="T57" fmla="*/ 258 h 545"/>
              <a:gd name="T58" fmla="*/ 2091 w 2915"/>
              <a:gd name="T59" fmla="*/ 166 h 545"/>
              <a:gd name="T60" fmla="*/ 2103 w 2915"/>
              <a:gd name="T61" fmla="*/ 83 h 545"/>
              <a:gd name="T62" fmla="*/ 2156 w 2915"/>
              <a:gd name="T63" fmla="*/ 104 h 545"/>
              <a:gd name="T64" fmla="*/ 2171 w 2915"/>
              <a:gd name="T65" fmla="*/ 164 h 545"/>
              <a:gd name="T66" fmla="*/ 2180 w 2915"/>
              <a:gd name="T67" fmla="*/ 164 h 545"/>
              <a:gd name="T68" fmla="*/ 2197 w 2915"/>
              <a:gd name="T69" fmla="*/ 104 h 545"/>
              <a:gd name="T70" fmla="*/ 2250 w 2915"/>
              <a:gd name="T71" fmla="*/ 83 h 545"/>
              <a:gd name="T72" fmla="*/ 2256 w 2915"/>
              <a:gd name="T73" fmla="*/ 167 h 545"/>
              <a:gd name="T74" fmla="*/ 2406 w 2915"/>
              <a:gd name="T75" fmla="*/ 258 h 545"/>
              <a:gd name="T76" fmla="*/ 2396 w 2915"/>
              <a:gd name="T77" fmla="*/ 230 h 545"/>
              <a:gd name="T78" fmla="*/ 2413 w 2915"/>
              <a:gd name="T79" fmla="*/ 192 h 545"/>
              <a:gd name="T80" fmla="*/ 2424 w 2915"/>
              <a:gd name="T81" fmla="*/ 150 h 545"/>
              <a:gd name="T82" fmla="*/ 2429 w 2915"/>
              <a:gd name="T83" fmla="*/ 230 h 545"/>
              <a:gd name="T84" fmla="*/ 2429 w 2915"/>
              <a:gd name="T85" fmla="*/ 241 h 545"/>
              <a:gd name="T86" fmla="*/ 2482 w 2915"/>
              <a:gd name="T87" fmla="*/ 286 h 545"/>
              <a:gd name="T88" fmla="*/ 2556 w 2915"/>
              <a:gd name="T89" fmla="*/ 333 h 545"/>
              <a:gd name="T90" fmla="*/ 2599 w 2915"/>
              <a:gd name="T91" fmla="*/ 343 h 545"/>
              <a:gd name="T92" fmla="*/ 2770 w 2915"/>
              <a:gd name="T93" fmla="*/ 391 h 545"/>
              <a:gd name="T94" fmla="*/ 2819 w 2915"/>
              <a:gd name="T95" fmla="*/ 453 h 545"/>
              <a:gd name="T96" fmla="*/ 2915 w 2915"/>
              <a:gd name="T97" fmla="*/ 423 h 545"/>
              <a:gd name="T98" fmla="*/ 1692 w 2915"/>
              <a:gd name="T99" fmla="*/ 512 h 545"/>
              <a:gd name="T100" fmla="*/ 1580 w 2915"/>
              <a:gd name="T101" fmla="*/ 512 h 545"/>
              <a:gd name="T102" fmla="*/ 1462 w 2915"/>
              <a:gd name="T103" fmla="*/ 512 h 545"/>
              <a:gd name="T104" fmla="*/ 1350 w 2915"/>
              <a:gd name="T105" fmla="*/ 512 h 545"/>
              <a:gd name="T106" fmla="*/ 0 w 2915"/>
              <a:gd name="T107" fmla="*/ 29 h 545"/>
              <a:gd name="T108" fmla="*/ 122 w 2915"/>
              <a:gd name="T109" fmla="*/ 152 h 545"/>
              <a:gd name="T110" fmla="*/ 187 w 2915"/>
              <a:gd name="T111" fmla="*/ 171 h 545"/>
              <a:gd name="T112" fmla="*/ 309 w 2915"/>
              <a:gd name="T113" fmla="*/ 130 h 545"/>
              <a:gd name="T114" fmla="*/ 490 w 2915"/>
              <a:gd name="T115" fmla="*/ 259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15" h="545">
                <a:moveTo>
                  <a:pt x="490" y="259"/>
                </a:moveTo>
                <a:cubicBezTo>
                  <a:pt x="537" y="259"/>
                  <a:pt x="537" y="259"/>
                  <a:pt x="537" y="259"/>
                </a:cubicBezTo>
                <a:cubicBezTo>
                  <a:pt x="565" y="281"/>
                  <a:pt x="565" y="281"/>
                  <a:pt x="565" y="281"/>
                </a:cubicBezTo>
                <a:cubicBezTo>
                  <a:pt x="610" y="306"/>
                  <a:pt x="610" y="306"/>
                  <a:pt x="610" y="306"/>
                </a:cubicBezTo>
                <a:cubicBezTo>
                  <a:pt x="654" y="346"/>
                  <a:pt x="654" y="346"/>
                  <a:pt x="654" y="346"/>
                </a:cubicBezTo>
                <a:cubicBezTo>
                  <a:pt x="697" y="334"/>
                  <a:pt x="697" y="334"/>
                  <a:pt x="697" y="334"/>
                </a:cubicBezTo>
                <a:cubicBezTo>
                  <a:pt x="741" y="387"/>
                  <a:pt x="741" y="387"/>
                  <a:pt x="741" y="387"/>
                </a:cubicBezTo>
                <a:cubicBezTo>
                  <a:pt x="777" y="354"/>
                  <a:pt x="777" y="354"/>
                  <a:pt x="777" y="354"/>
                </a:cubicBezTo>
                <a:cubicBezTo>
                  <a:pt x="796" y="287"/>
                  <a:pt x="796" y="287"/>
                  <a:pt x="796" y="287"/>
                </a:cubicBezTo>
                <a:cubicBezTo>
                  <a:pt x="804" y="258"/>
                  <a:pt x="804" y="258"/>
                  <a:pt x="804" y="258"/>
                </a:cubicBezTo>
                <a:cubicBezTo>
                  <a:pt x="813" y="258"/>
                  <a:pt x="813" y="258"/>
                  <a:pt x="813" y="258"/>
                </a:cubicBezTo>
                <a:cubicBezTo>
                  <a:pt x="824" y="304"/>
                  <a:pt x="824" y="304"/>
                  <a:pt x="824" y="304"/>
                </a:cubicBezTo>
                <a:cubicBezTo>
                  <a:pt x="835" y="304"/>
                  <a:pt x="835" y="304"/>
                  <a:pt x="835" y="304"/>
                </a:cubicBezTo>
                <a:cubicBezTo>
                  <a:pt x="835" y="209"/>
                  <a:pt x="835" y="209"/>
                  <a:pt x="835" y="209"/>
                </a:cubicBezTo>
                <a:cubicBezTo>
                  <a:pt x="847" y="206"/>
                  <a:pt x="847" y="206"/>
                  <a:pt x="847" y="206"/>
                </a:cubicBezTo>
                <a:cubicBezTo>
                  <a:pt x="878" y="0"/>
                  <a:pt x="878" y="0"/>
                  <a:pt x="878" y="0"/>
                </a:cubicBezTo>
                <a:cubicBezTo>
                  <a:pt x="910" y="204"/>
                  <a:pt x="910" y="204"/>
                  <a:pt x="910" y="204"/>
                </a:cubicBezTo>
                <a:cubicBezTo>
                  <a:pt x="924" y="205"/>
                  <a:pt x="924" y="205"/>
                  <a:pt x="924" y="205"/>
                </a:cubicBezTo>
                <a:cubicBezTo>
                  <a:pt x="924" y="337"/>
                  <a:pt x="924" y="337"/>
                  <a:pt x="924" y="337"/>
                </a:cubicBezTo>
                <a:cubicBezTo>
                  <a:pt x="961" y="375"/>
                  <a:pt x="961" y="375"/>
                  <a:pt x="961" y="375"/>
                </a:cubicBezTo>
                <a:cubicBezTo>
                  <a:pt x="1017" y="375"/>
                  <a:pt x="1017" y="375"/>
                  <a:pt x="1017" y="375"/>
                </a:cubicBezTo>
                <a:cubicBezTo>
                  <a:pt x="1017" y="311"/>
                  <a:pt x="1017" y="311"/>
                  <a:pt x="1017" y="311"/>
                </a:cubicBezTo>
                <a:cubicBezTo>
                  <a:pt x="1017" y="311"/>
                  <a:pt x="998" y="307"/>
                  <a:pt x="998" y="298"/>
                </a:cubicBezTo>
                <a:cubicBezTo>
                  <a:pt x="998" y="290"/>
                  <a:pt x="1017" y="286"/>
                  <a:pt x="1017" y="286"/>
                </a:cubicBezTo>
                <a:cubicBezTo>
                  <a:pt x="1017" y="275"/>
                  <a:pt x="1017" y="275"/>
                  <a:pt x="1017" y="275"/>
                </a:cubicBezTo>
                <a:cubicBezTo>
                  <a:pt x="1034" y="258"/>
                  <a:pt x="1034" y="258"/>
                  <a:pt x="1034" y="258"/>
                </a:cubicBezTo>
                <a:cubicBezTo>
                  <a:pt x="1058" y="180"/>
                  <a:pt x="1058" y="180"/>
                  <a:pt x="1058" y="180"/>
                </a:cubicBezTo>
                <a:cubicBezTo>
                  <a:pt x="1077" y="258"/>
                  <a:pt x="1077" y="258"/>
                  <a:pt x="1077" y="258"/>
                </a:cubicBezTo>
                <a:cubicBezTo>
                  <a:pt x="1096" y="272"/>
                  <a:pt x="1096" y="272"/>
                  <a:pt x="1096" y="272"/>
                </a:cubicBezTo>
                <a:cubicBezTo>
                  <a:pt x="1096" y="286"/>
                  <a:pt x="1096" y="286"/>
                  <a:pt x="1096" y="286"/>
                </a:cubicBezTo>
                <a:cubicBezTo>
                  <a:pt x="1096" y="286"/>
                  <a:pt x="1112" y="290"/>
                  <a:pt x="1112" y="299"/>
                </a:cubicBezTo>
                <a:cubicBezTo>
                  <a:pt x="1112" y="308"/>
                  <a:pt x="1096" y="310"/>
                  <a:pt x="1096" y="310"/>
                </a:cubicBezTo>
                <a:cubicBezTo>
                  <a:pt x="1096" y="403"/>
                  <a:pt x="1096" y="403"/>
                  <a:pt x="1096" y="403"/>
                </a:cubicBezTo>
                <a:cubicBezTo>
                  <a:pt x="1115" y="403"/>
                  <a:pt x="1115" y="403"/>
                  <a:pt x="1115" y="403"/>
                </a:cubicBezTo>
                <a:cubicBezTo>
                  <a:pt x="1129" y="388"/>
                  <a:pt x="1129" y="388"/>
                  <a:pt x="1129" y="388"/>
                </a:cubicBezTo>
                <a:cubicBezTo>
                  <a:pt x="1167" y="388"/>
                  <a:pt x="1167" y="388"/>
                  <a:pt x="1167" y="388"/>
                </a:cubicBezTo>
                <a:cubicBezTo>
                  <a:pt x="1167" y="375"/>
                  <a:pt x="1167" y="375"/>
                  <a:pt x="1167" y="375"/>
                </a:cubicBezTo>
                <a:cubicBezTo>
                  <a:pt x="1295" y="375"/>
                  <a:pt x="1295" y="375"/>
                  <a:pt x="1295" y="375"/>
                </a:cubicBezTo>
                <a:cubicBezTo>
                  <a:pt x="1295" y="383"/>
                  <a:pt x="1295" y="383"/>
                  <a:pt x="1295" y="383"/>
                </a:cubicBezTo>
                <a:cubicBezTo>
                  <a:pt x="1332" y="383"/>
                  <a:pt x="1332" y="383"/>
                  <a:pt x="1332" y="383"/>
                </a:cubicBezTo>
                <a:cubicBezTo>
                  <a:pt x="1342" y="395"/>
                  <a:pt x="1342" y="395"/>
                  <a:pt x="1342" y="395"/>
                </a:cubicBezTo>
                <a:cubicBezTo>
                  <a:pt x="1342" y="435"/>
                  <a:pt x="1342" y="435"/>
                  <a:pt x="1342" y="435"/>
                </a:cubicBezTo>
                <a:cubicBezTo>
                  <a:pt x="1384" y="435"/>
                  <a:pt x="1384" y="435"/>
                  <a:pt x="1384" y="435"/>
                </a:cubicBezTo>
                <a:cubicBezTo>
                  <a:pt x="1399" y="419"/>
                  <a:pt x="1399" y="419"/>
                  <a:pt x="1399" y="419"/>
                </a:cubicBezTo>
                <a:cubicBezTo>
                  <a:pt x="1414" y="431"/>
                  <a:pt x="1414" y="431"/>
                  <a:pt x="1414" y="431"/>
                </a:cubicBezTo>
                <a:cubicBezTo>
                  <a:pt x="1443" y="431"/>
                  <a:pt x="1443" y="431"/>
                  <a:pt x="1443" y="431"/>
                </a:cubicBezTo>
                <a:cubicBezTo>
                  <a:pt x="1462" y="412"/>
                  <a:pt x="1462" y="412"/>
                  <a:pt x="1462" y="412"/>
                </a:cubicBezTo>
                <a:cubicBezTo>
                  <a:pt x="1482" y="429"/>
                  <a:pt x="1482" y="429"/>
                  <a:pt x="1482" y="429"/>
                </a:cubicBezTo>
                <a:cubicBezTo>
                  <a:pt x="1539" y="429"/>
                  <a:pt x="1539" y="429"/>
                  <a:pt x="1539" y="429"/>
                </a:cubicBezTo>
                <a:cubicBezTo>
                  <a:pt x="1553" y="415"/>
                  <a:pt x="1553" y="415"/>
                  <a:pt x="1553" y="415"/>
                </a:cubicBezTo>
                <a:cubicBezTo>
                  <a:pt x="1566" y="427"/>
                  <a:pt x="1566" y="427"/>
                  <a:pt x="1566" y="427"/>
                </a:cubicBezTo>
                <a:cubicBezTo>
                  <a:pt x="1588" y="427"/>
                  <a:pt x="1588" y="427"/>
                  <a:pt x="1588" y="427"/>
                </a:cubicBezTo>
                <a:cubicBezTo>
                  <a:pt x="1588" y="497"/>
                  <a:pt x="1588" y="497"/>
                  <a:pt x="1588" y="497"/>
                </a:cubicBezTo>
                <a:cubicBezTo>
                  <a:pt x="1624" y="497"/>
                  <a:pt x="1624" y="497"/>
                  <a:pt x="1624" y="497"/>
                </a:cubicBezTo>
                <a:cubicBezTo>
                  <a:pt x="1624" y="443"/>
                  <a:pt x="1624" y="443"/>
                  <a:pt x="1624" y="443"/>
                </a:cubicBezTo>
                <a:cubicBezTo>
                  <a:pt x="1603" y="443"/>
                  <a:pt x="1603" y="443"/>
                  <a:pt x="1603" y="443"/>
                </a:cubicBezTo>
                <a:cubicBezTo>
                  <a:pt x="1629" y="427"/>
                  <a:pt x="1629" y="427"/>
                  <a:pt x="1629" y="427"/>
                </a:cubicBezTo>
                <a:cubicBezTo>
                  <a:pt x="1629" y="406"/>
                  <a:pt x="1629" y="406"/>
                  <a:pt x="1629" y="406"/>
                </a:cubicBezTo>
                <a:cubicBezTo>
                  <a:pt x="1658" y="406"/>
                  <a:pt x="1658" y="406"/>
                  <a:pt x="1658" y="406"/>
                </a:cubicBezTo>
                <a:cubicBezTo>
                  <a:pt x="1677" y="390"/>
                  <a:pt x="1677" y="390"/>
                  <a:pt x="1677" y="390"/>
                </a:cubicBezTo>
                <a:cubicBezTo>
                  <a:pt x="1697" y="406"/>
                  <a:pt x="1697" y="406"/>
                  <a:pt x="1697" y="406"/>
                </a:cubicBezTo>
                <a:cubicBezTo>
                  <a:pt x="1727" y="406"/>
                  <a:pt x="1727" y="406"/>
                  <a:pt x="1727" y="406"/>
                </a:cubicBezTo>
                <a:cubicBezTo>
                  <a:pt x="1727" y="431"/>
                  <a:pt x="1727" y="431"/>
                  <a:pt x="1727" y="431"/>
                </a:cubicBezTo>
                <a:cubicBezTo>
                  <a:pt x="1747" y="431"/>
                  <a:pt x="1747" y="431"/>
                  <a:pt x="1747" y="431"/>
                </a:cubicBezTo>
                <a:cubicBezTo>
                  <a:pt x="1747" y="396"/>
                  <a:pt x="1747" y="396"/>
                  <a:pt x="1747" y="396"/>
                </a:cubicBezTo>
                <a:cubicBezTo>
                  <a:pt x="1768" y="375"/>
                  <a:pt x="1768" y="375"/>
                  <a:pt x="1768" y="375"/>
                </a:cubicBezTo>
                <a:cubicBezTo>
                  <a:pt x="1768" y="355"/>
                  <a:pt x="1768" y="355"/>
                  <a:pt x="1768" y="355"/>
                </a:cubicBezTo>
                <a:cubicBezTo>
                  <a:pt x="1793" y="355"/>
                  <a:pt x="1793" y="355"/>
                  <a:pt x="1793" y="355"/>
                </a:cubicBezTo>
                <a:cubicBezTo>
                  <a:pt x="1823" y="329"/>
                  <a:pt x="1823" y="329"/>
                  <a:pt x="1823" y="329"/>
                </a:cubicBezTo>
                <a:cubicBezTo>
                  <a:pt x="1926" y="329"/>
                  <a:pt x="1926" y="329"/>
                  <a:pt x="1926" y="329"/>
                </a:cubicBezTo>
                <a:cubicBezTo>
                  <a:pt x="1926" y="307"/>
                  <a:pt x="1926" y="307"/>
                  <a:pt x="1926" y="307"/>
                </a:cubicBezTo>
                <a:cubicBezTo>
                  <a:pt x="1918" y="307"/>
                  <a:pt x="1918" y="307"/>
                  <a:pt x="1918" y="307"/>
                </a:cubicBezTo>
                <a:cubicBezTo>
                  <a:pt x="1918" y="271"/>
                  <a:pt x="1918" y="271"/>
                  <a:pt x="1918" y="271"/>
                </a:cubicBezTo>
                <a:cubicBezTo>
                  <a:pt x="1928" y="271"/>
                  <a:pt x="1928" y="271"/>
                  <a:pt x="1928" y="271"/>
                </a:cubicBezTo>
                <a:cubicBezTo>
                  <a:pt x="1928" y="244"/>
                  <a:pt x="1928" y="244"/>
                  <a:pt x="1928" y="244"/>
                </a:cubicBezTo>
                <a:cubicBezTo>
                  <a:pt x="1937" y="244"/>
                  <a:pt x="1937" y="244"/>
                  <a:pt x="1937" y="244"/>
                </a:cubicBezTo>
                <a:cubicBezTo>
                  <a:pt x="1937" y="272"/>
                  <a:pt x="1937" y="272"/>
                  <a:pt x="1937" y="272"/>
                </a:cubicBezTo>
                <a:cubicBezTo>
                  <a:pt x="1947" y="272"/>
                  <a:pt x="1947" y="272"/>
                  <a:pt x="1947" y="272"/>
                </a:cubicBezTo>
                <a:cubicBezTo>
                  <a:pt x="1947" y="306"/>
                  <a:pt x="1947" y="306"/>
                  <a:pt x="1947" y="306"/>
                </a:cubicBezTo>
                <a:cubicBezTo>
                  <a:pt x="1940" y="306"/>
                  <a:pt x="1940" y="306"/>
                  <a:pt x="1940" y="306"/>
                </a:cubicBezTo>
                <a:cubicBezTo>
                  <a:pt x="1940" y="329"/>
                  <a:pt x="1940" y="329"/>
                  <a:pt x="1940" y="329"/>
                </a:cubicBezTo>
                <a:cubicBezTo>
                  <a:pt x="1966" y="329"/>
                  <a:pt x="1966" y="329"/>
                  <a:pt x="1966" y="329"/>
                </a:cubicBezTo>
                <a:cubicBezTo>
                  <a:pt x="1994" y="375"/>
                  <a:pt x="1994" y="375"/>
                  <a:pt x="1994" y="375"/>
                </a:cubicBezTo>
                <a:cubicBezTo>
                  <a:pt x="2054" y="375"/>
                  <a:pt x="2054" y="375"/>
                  <a:pt x="2054" y="375"/>
                </a:cubicBezTo>
                <a:cubicBezTo>
                  <a:pt x="2054" y="329"/>
                  <a:pt x="2054" y="329"/>
                  <a:pt x="2054" y="329"/>
                </a:cubicBezTo>
                <a:cubicBezTo>
                  <a:pt x="2074" y="321"/>
                  <a:pt x="2074" y="321"/>
                  <a:pt x="2074" y="321"/>
                </a:cubicBezTo>
                <a:cubicBezTo>
                  <a:pt x="2074" y="258"/>
                  <a:pt x="2074" y="258"/>
                  <a:pt x="2074" y="258"/>
                </a:cubicBezTo>
                <a:cubicBezTo>
                  <a:pt x="2082" y="258"/>
                  <a:pt x="2082" y="258"/>
                  <a:pt x="2082" y="258"/>
                </a:cubicBezTo>
                <a:cubicBezTo>
                  <a:pt x="2082" y="166"/>
                  <a:pt x="2082" y="166"/>
                  <a:pt x="2082" y="166"/>
                </a:cubicBezTo>
                <a:cubicBezTo>
                  <a:pt x="2091" y="166"/>
                  <a:pt x="2091" y="166"/>
                  <a:pt x="2091" y="166"/>
                </a:cubicBezTo>
                <a:cubicBezTo>
                  <a:pt x="2091" y="104"/>
                  <a:pt x="2091" y="104"/>
                  <a:pt x="2091" y="104"/>
                </a:cubicBezTo>
                <a:cubicBezTo>
                  <a:pt x="2103" y="104"/>
                  <a:pt x="2103" y="104"/>
                  <a:pt x="2103" y="104"/>
                </a:cubicBezTo>
                <a:cubicBezTo>
                  <a:pt x="2103" y="83"/>
                  <a:pt x="2103" y="83"/>
                  <a:pt x="2103" y="83"/>
                </a:cubicBezTo>
                <a:cubicBezTo>
                  <a:pt x="2103" y="83"/>
                  <a:pt x="2103" y="58"/>
                  <a:pt x="2129" y="58"/>
                </a:cubicBezTo>
                <a:cubicBezTo>
                  <a:pt x="2154" y="58"/>
                  <a:pt x="2156" y="83"/>
                  <a:pt x="2156" y="83"/>
                </a:cubicBezTo>
                <a:cubicBezTo>
                  <a:pt x="2156" y="104"/>
                  <a:pt x="2156" y="104"/>
                  <a:pt x="2156" y="104"/>
                </a:cubicBezTo>
                <a:cubicBezTo>
                  <a:pt x="2164" y="104"/>
                  <a:pt x="2164" y="104"/>
                  <a:pt x="2164" y="104"/>
                </a:cubicBezTo>
                <a:cubicBezTo>
                  <a:pt x="2164" y="164"/>
                  <a:pt x="2164" y="164"/>
                  <a:pt x="2164" y="164"/>
                </a:cubicBezTo>
                <a:cubicBezTo>
                  <a:pt x="2171" y="164"/>
                  <a:pt x="2171" y="164"/>
                  <a:pt x="2171" y="164"/>
                </a:cubicBezTo>
                <a:cubicBezTo>
                  <a:pt x="2171" y="257"/>
                  <a:pt x="2171" y="257"/>
                  <a:pt x="2171" y="257"/>
                </a:cubicBezTo>
                <a:cubicBezTo>
                  <a:pt x="2180" y="257"/>
                  <a:pt x="2180" y="257"/>
                  <a:pt x="2180" y="257"/>
                </a:cubicBezTo>
                <a:cubicBezTo>
                  <a:pt x="2180" y="164"/>
                  <a:pt x="2180" y="164"/>
                  <a:pt x="2180" y="164"/>
                </a:cubicBezTo>
                <a:cubicBezTo>
                  <a:pt x="2183" y="164"/>
                  <a:pt x="2183" y="164"/>
                  <a:pt x="2183" y="164"/>
                </a:cubicBezTo>
                <a:cubicBezTo>
                  <a:pt x="2183" y="104"/>
                  <a:pt x="2183" y="104"/>
                  <a:pt x="2183" y="104"/>
                </a:cubicBezTo>
                <a:cubicBezTo>
                  <a:pt x="2197" y="104"/>
                  <a:pt x="2197" y="104"/>
                  <a:pt x="2197" y="104"/>
                </a:cubicBezTo>
                <a:cubicBezTo>
                  <a:pt x="2197" y="83"/>
                  <a:pt x="2197" y="83"/>
                  <a:pt x="2197" y="83"/>
                </a:cubicBezTo>
                <a:cubicBezTo>
                  <a:pt x="2197" y="83"/>
                  <a:pt x="2197" y="58"/>
                  <a:pt x="2222" y="58"/>
                </a:cubicBezTo>
                <a:cubicBezTo>
                  <a:pt x="2248" y="58"/>
                  <a:pt x="2250" y="83"/>
                  <a:pt x="2250" y="83"/>
                </a:cubicBezTo>
                <a:cubicBezTo>
                  <a:pt x="2250" y="104"/>
                  <a:pt x="2250" y="104"/>
                  <a:pt x="2250" y="104"/>
                </a:cubicBezTo>
                <a:cubicBezTo>
                  <a:pt x="2256" y="104"/>
                  <a:pt x="2256" y="104"/>
                  <a:pt x="2256" y="104"/>
                </a:cubicBezTo>
                <a:cubicBezTo>
                  <a:pt x="2256" y="167"/>
                  <a:pt x="2256" y="167"/>
                  <a:pt x="2256" y="167"/>
                </a:cubicBezTo>
                <a:cubicBezTo>
                  <a:pt x="2264" y="167"/>
                  <a:pt x="2264" y="167"/>
                  <a:pt x="2264" y="167"/>
                </a:cubicBezTo>
                <a:cubicBezTo>
                  <a:pt x="2264" y="258"/>
                  <a:pt x="2264" y="258"/>
                  <a:pt x="2264" y="258"/>
                </a:cubicBezTo>
                <a:cubicBezTo>
                  <a:pt x="2406" y="258"/>
                  <a:pt x="2406" y="258"/>
                  <a:pt x="2406" y="258"/>
                </a:cubicBezTo>
                <a:cubicBezTo>
                  <a:pt x="2406" y="241"/>
                  <a:pt x="2406" y="241"/>
                  <a:pt x="2406" y="241"/>
                </a:cubicBezTo>
                <a:cubicBezTo>
                  <a:pt x="2396" y="241"/>
                  <a:pt x="2396" y="241"/>
                  <a:pt x="2396" y="241"/>
                </a:cubicBezTo>
                <a:cubicBezTo>
                  <a:pt x="2396" y="230"/>
                  <a:pt x="2396" y="230"/>
                  <a:pt x="2396" y="230"/>
                </a:cubicBezTo>
                <a:cubicBezTo>
                  <a:pt x="2406" y="230"/>
                  <a:pt x="2406" y="230"/>
                  <a:pt x="2406" y="230"/>
                </a:cubicBezTo>
                <a:cubicBezTo>
                  <a:pt x="2406" y="192"/>
                  <a:pt x="2406" y="192"/>
                  <a:pt x="2406" y="192"/>
                </a:cubicBezTo>
                <a:cubicBezTo>
                  <a:pt x="2413" y="192"/>
                  <a:pt x="2413" y="192"/>
                  <a:pt x="2413" y="192"/>
                </a:cubicBezTo>
                <a:cubicBezTo>
                  <a:pt x="2413" y="158"/>
                  <a:pt x="2413" y="158"/>
                  <a:pt x="2413" y="158"/>
                </a:cubicBezTo>
                <a:cubicBezTo>
                  <a:pt x="2413" y="150"/>
                  <a:pt x="2413" y="150"/>
                  <a:pt x="2413" y="150"/>
                </a:cubicBezTo>
                <a:cubicBezTo>
                  <a:pt x="2424" y="150"/>
                  <a:pt x="2424" y="150"/>
                  <a:pt x="2424" y="150"/>
                </a:cubicBezTo>
                <a:cubicBezTo>
                  <a:pt x="2424" y="192"/>
                  <a:pt x="2424" y="192"/>
                  <a:pt x="2424" y="192"/>
                </a:cubicBezTo>
                <a:cubicBezTo>
                  <a:pt x="2429" y="192"/>
                  <a:pt x="2429" y="192"/>
                  <a:pt x="2429" y="192"/>
                </a:cubicBezTo>
                <a:cubicBezTo>
                  <a:pt x="2429" y="230"/>
                  <a:pt x="2429" y="230"/>
                  <a:pt x="2429" y="230"/>
                </a:cubicBezTo>
                <a:cubicBezTo>
                  <a:pt x="2442" y="230"/>
                  <a:pt x="2442" y="230"/>
                  <a:pt x="2442" y="230"/>
                </a:cubicBezTo>
                <a:cubicBezTo>
                  <a:pt x="2442" y="241"/>
                  <a:pt x="2442" y="241"/>
                  <a:pt x="2442" y="241"/>
                </a:cubicBezTo>
                <a:cubicBezTo>
                  <a:pt x="2429" y="241"/>
                  <a:pt x="2429" y="241"/>
                  <a:pt x="2429" y="241"/>
                </a:cubicBezTo>
                <a:cubicBezTo>
                  <a:pt x="2429" y="258"/>
                  <a:pt x="2429" y="258"/>
                  <a:pt x="2429" y="258"/>
                </a:cubicBezTo>
                <a:cubicBezTo>
                  <a:pt x="2455" y="258"/>
                  <a:pt x="2455" y="258"/>
                  <a:pt x="2455" y="258"/>
                </a:cubicBezTo>
                <a:cubicBezTo>
                  <a:pt x="2482" y="286"/>
                  <a:pt x="2482" y="286"/>
                  <a:pt x="2482" y="286"/>
                </a:cubicBezTo>
                <a:cubicBezTo>
                  <a:pt x="2514" y="286"/>
                  <a:pt x="2514" y="286"/>
                  <a:pt x="2514" y="286"/>
                </a:cubicBezTo>
                <a:cubicBezTo>
                  <a:pt x="2514" y="333"/>
                  <a:pt x="2514" y="333"/>
                  <a:pt x="2514" y="333"/>
                </a:cubicBezTo>
                <a:cubicBezTo>
                  <a:pt x="2556" y="333"/>
                  <a:pt x="2556" y="333"/>
                  <a:pt x="2556" y="333"/>
                </a:cubicBezTo>
                <a:cubicBezTo>
                  <a:pt x="2556" y="363"/>
                  <a:pt x="2556" y="363"/>
                  <a:pt x="2556" y="363"/>
                </a:cubicBezTo>
                <a:cubicBezTo>
                  <a:pt x="2599" y="363"/>
                  <a:pt x="2599" y="363"/>
                  <a:pt x="2599" y="363"/>
                </a:cubicBezTo>
                <a:cubicBezTo>
                  <a:pt x="2599" y="343"/>
                  <a:pt x="2599" y="343"/>
                  <a:pt x="2599" y="343"/>
                </a:cubicBezTo>
                <a:cubicBezTo>
                  <a:pt x="2621" y="343"/>
                  <a:pt x="2621" y="343"/>
                  <a:pt x="2621" y="343"/>
                </a:cubicBezTo>
                <a:cubicBezTo>
                  <a:pt x="2673" y="391"/>
                  <a:pt x="2673" y="391"/>
                  <a:pt x="2673" y="391"/>
                </a:cubicBezTo>
                <a:cubicBezTo>
                  <a:pt x="2770" y="391"/>
                  <a:pt x="2770" y="391"/>
                  <a:pt x="2770" y="391"/>
                </a:cubicBezTo>
                <a:cubicBezTo>
                  <a:pt x="2770" y="363"/>
                  <a:pt x="2770" y="363"/>
                  <a:pt x="2770" y="363"/>
                </a:cubicBezTo>
                <a:cubicBezTo>
                  <a:pt x="2819" y="363"/>
                  <a:pt x="2819" y="363"/>
                  <a:pt x="2819" y="363"/>
                </a:cubicBezTo>
                <a:cubicBezTo>
                  <a:pt x="2819" y="453"/>
                  <a:pt x="2819" y="453"/>
                  <a:pt x="2819" y="453"/>
                </a:cubicBezTo>
                <a:cubicBezTo>
                  <a:pt x="2869" y="453"/>
                  <a:pt x="2869" y="453"/>
                  <a:pt x="2869" y="453"/>
                </a:cubicBezTo>
                <a:cubicBezTo>
                  <a:pt x="2869" y="423"/>
                  <a:pt x="2869" y="423"/>
                  <a:pt x="2869" y="423"/>
                </a:cubicBezTo>
                <a:cubicBezTo>
                  <a:pt x="2915" y="423"/>
                  <a:pt x="2915" y="423"/>
                  <a:pt x="2915" y="423"/>
                </a:cubicBezTo>
                <a:cubicBezTo>
                  <a:pt x="2915" y="545"/>
                  <a:pt x="2915" y="545"/>
                  <a:pt x="2915" y="545"/>
                </a:cubicBezTo>
                <a:cubicBezTo>
                  <a:pt x="1741" y="545"/>
                  <a:pt x="1741" y="545"/>
                  <a:pt x="1741" y="545"/>
                </a:cubicBezTo>
                <a:cubicBezTo>
                  <a:pt x="1741" y="527"/>
                  <a:pt x="1719" y="512"/>
                  <a:pt x="1692" y="512"/>
                </a:cubicBezTo>
                <a:cubicBezTo>
                  <a:pt x="1664" y="512"/>
                  <a:pt x="1642" y="527"/>
                  <a:pt x="1642" y="545"/>
                </a:cubicBezTo>
                <a:cubicBezTo>
                  <a:pt x="1630" y="545"/>
                  <a:pt x="1630" y="545"/>
                  <a:pt x="1630" y="545"/>
                </a:cubicBezTo>
                <a:cubicBezTo>
                  <a:pt x="1630" y="527"/>
                  <a:pt x="1607" y="512"/>
                  <a:pt x="1580" y="512"/>
                </a:cubicBezTo>
                <a:cubicBezTo>
                  <a:pt x="1553" y="512"/>
                  <a:pt x="1531" y="527"/>
                  <a:pt x="1531" y="545"/>
                </a:cubicBezTo>
                <a:cubicBezTo>
                  <a:pt x="1511" y="545"/>
                  <a:pt x="1511" y="545"/>
                  <a:pt x="1511" y="545"/>
                </a:cubicBezTo>
                <a:cubicBezTo>
                  <a:pt x="1511" y="527"/>
                  <a:pt x="1489" y="512"/>
                  <a:pt x="1462" y="512"/>
                </a:cubicBezTo>
                <a:cubicBezTo>
                  <a:pt x="1435" y="512"/>
                  <a:pt x="1413" y="527"/>
                  <a:pt x="1413" y="545"/>
                </a:cubicBezTo>
                <a:cubicBezTo>
                  <a:pt x="1399" y="545"/>
                  <a:pt x="1399" y="545"/>
                  <a:pt x="1399" y="545"/>
                </a:cubicBezTo>
                <a:cubicBezTo>
                  <a:pt x="1399" y="527"/>
                  <a:pt x="1377" y="512"/>
                  <a:pt x="1350" y="512"/>
                </a:cubicBezTo>
                <a:cubicBezTo>
                  <a:pt x="1323" y="512"/>
                  <a:pt x="1301" y="527"/>
                  <a:pt x="1301" y="545"/>
                </a:cubicBezTo>
                <a:cubicBezTo>
                  <a:pt x="0" y="545"/>
                  <a:pt x="0" y="545"/>
                  <a:pt x="0" y="545"/>
                </a:cubicBezTo>
                <a:cubicBezTo>
                  <a:pt x="0" y="29"/>
                  <a:pt x="0" y="29"/>
                  <a:pt x="0" y="29"/>
                </a:cubicBezTo>
                <a:cubicBezTo>
                  <a:pt x="84" y="106"/>
                  <a:pt x="84" y="106"/>
                  <a:pt x="84" y="106"/>
                </a:cubicBezTo>
                <a:cubicBezTo>
                  <a:pt x="93" y="100"/>
                  <a:pt x="93" y="100"/>
                  <a:pt x="93" y="100"/>
                </a:cubicBezTo>
                <a:cubicBezTo>
                  <a:pt x="122" y="152"/>
                  <a:pt x="122" y="152"/>
                  <a:pt x="122" y="152"/>
                </a:cubicBezTo>
                <a:cubicBezTo>
                  <a:pt x="141" y="144"/>
                  <a:pt x="141" y="144"/>
                  <a:pt x="141" y="144"/>
                </a:cubicBezTo>
                <a:cubicBezTo>
                  <a:pt x="170" y="171"/>
                  <a:pt x="170" y="171"/>
                  <a:pt x="170" y="171"/>
                </a:cubicBezTo>
                <a:cubicBezTo>
                  <a:pt x="187" y="171"/>
                  <a:pt x="187" y="171"/>
                  <a:pt x="187" y="171"/>
                </a:cubicBezTo>
                <a:cubicBezTo>
                  <a:pt x="241" y="148"/>
                  <a:pt x="241" y="148"/>
                  <a:pt x="241" y="148"/>
                </a:cubicBezTo>
                <a:cubicBezTo>
                  <a:pt x="290" y="148"/>
                  <a:pt x="290" y="148"/>
                  <a:pt x="290" y="148"/>
                </a:cubicBezTo>
                <a:cubicBezTo>
                  <a:pt x="309" y="130"/>
                  <a:pt x="309" y="130"/>
                  <a:pt x="309" y="130"/>
                </a:cubicBezTo>
                <a:cubicBezTo>
                  <a:pt x="340" y="187"/>
                  <a:pt x="340" y="187"/>
                  <a:pt x="340" y="187"/>
                </a:cubicBezTo>
                <a:cubicBezTo>
                  <a:pt x="410" y="162"/>
                  <a:pt x="410" y="162"/>
                  <a:pt x="410" y="162"/>
                </a:cubicBezTo>
                <a:lnTo>
                  <a:pt x="490" y="259"/>
                </a:lnTo>
                <a:close/>
              </a:path>
            </a:pathLst>
          </a:custGeom>
          <a:solidFill>
            <a:schemeClr val="tx1">
              <a:alpha val="29000"/>
            </a:schemeClr>
          </a:solidFill>
          <a:ln>
            <a:noFill/>
          </a:ln>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Tree>
    <p:extLst>
      <p:ext uri="{BB962C8B-B14F-4D97-AF65-F5344CB8AC3E}">
        <p14:creationId xmlns:p14="http://schemas.microsoft.com/office/powerpoint/2010/main" val="41639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de-DE" altLang="de-DE" noProof="0"/>
              <a:t>Titelmasterformat durch Klicken bearbeiten</a:t>
            </a:r>
            <a:endParaRPr lang="en-GB" altLang="de-DE" noProof="0"/>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de-DE" altLang="de-DE" noProof="0"/>
              <a:t>Formatvorlage des Untertitelmasters durch Klicken bearbeiten</a:t>
            </a:r>
            <a:endParaRPr lang="en-GB" altLang="de-DE" noProof="0"/>
          </a:p>
        </p:txBody>
      </p:sp>
    </p:spTree>
    <p:extLst>
      <p:ext uri="{BB962C8B-B14F-4D97-AF65-F5344CB8AC3E}">
        <p14:creationId xmlns:p14="http://schemas.microsoft.com/office/powerpoint/2010/main" val="3082523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8B03BE22-0403-424A-9D5A-EB0429EDEE27}" type="datetime1">
              <a:rPr lang="de-CH"/>
              <a:pPr>
                <a:defRPr/>
              </a:pPr>
              <a:t>21.03.2024</a:t>
            </a:fld>
            <a:endParaRPr lang="en-GB"/>
          </a:p>
        </p:txBody>
      </p:sp>
      <p:sp>
        <p:nvSpPr>
          <p:cNvPr id="4"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37278AF2-1EA1-497D-9BF6-DE9CF01DB9CA}" type="slidenum">
              <a:rPr lang="en-GB" altLang="de-DE"/>
              <a:pPr/>
              <a:t>‹#›</a:t>
            </a:fld>
            <a:endParaRPr lang="en-GB" altLang="de-DE"/>
          </a:p>
        </p:txBody>
      </p:sp>
      <p:sp>
        <p:nvSpPr>
          <p:cNvPr id="5"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1350938835"/>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9331BB88-B64E-4F87-B7BA-C7F0D5AA36CE}"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3477822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FBA31BF8-EAAD-4C00-9914-890E882E5A62}"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4418940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E3CA2120-0E62-4712-8D6B-4335EA1C6FC3}"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3097003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fld id="{4E54559B-B187-43E3-8564-19F38DFDB047}" type="slidenum">
              <a:rPr lang="en-GB" altLang="de-DE">
                <a:solidFill>
                  <a:srgbClr val="001155"/>
                </a:solidFill>
              </a:rPr>
              <a:pPr/>
              <a:t>‹#›</a:t>
            </a:fld>
            <a:endParaRPr lang="en-GB" altLang="de-DE">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3111762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fld id="{D7EAE5C9-B0E1-4ECD-BCC7-FAE5CACE1137}" type="slidenum">
              <a:rPr lang="en-GB" altLang="de-DE">
                <a:solidFill>
                  <a:srgbClr val="001155"/>
                </a:solidFill>
              </a:rPr>
              <a:pPr/>
              <a:t>‹#›</a:t>
            </a:fld>
            <a:endParaRPr lang="en-GB" altLang="de-DE">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16828643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fld id="{75D48744-5288-45AD-AE5F-C3DB092490A5}" type="slidenum">
              <a:rPr lang="en-GB" altLang="de-DE">
                <a:solidFill>
                  <a:srgbClr val="001155"/>
                </a:solidFill>
              </a:rPr>
              <a:pPr/>
              <a:t>‹#›</a:t>
            </a:fld>
            <a:endParaRPr lang="en-GB" altLang="de-DE">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6749002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985D8147-0AD4-429F-A157-199D6CFAC5AA}"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9031766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a:t>Bild durch Klicken auf Symbol hinzufügen</a:t>
            </a:r>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5DACBF4F-1939-43FF-A860-0BFC513337AF}"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4365440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44ACF898-5135-498C-A034-5A8E2E980821}"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1609066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972E4D31-62A4-41C5-B846-56D70908F69E}"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4897958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1FA1DF22-6CC5-493D-80A5-9F39113199D3}" type="datetime1">
              <a:rPr lang="de-CH"/>
              <a:pPr>
                <a:defRPr/>
              </a:pPr>
              <a:t>21.03.2024</a:t>
            </a:fld>
            <a:endParaRPr lang="en-GB"/>
          </a:p>
        </p:txBody>
      </p:sp>
      <p:sp>
        <p:nvSpPr>
          <p:cNvPr id="3"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6C8A606E-DB8A-49FE-BEFB-15194447AE71}" type="slidenum">
              <a:rPr lang="en-GB" altLang="de-DE"/>
              <a:pPr/>
              <a:t>‹#›</a:t>
            </a:fld>
            <a:endParaRPr lang="en-GB" altLang="de-DE"/>
          </a:p>
        </p:txBody>
      </p:sp>
      <p:sp>
        <p:nvSpPr>
          <p:cNvPr id="4"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3410240351"/>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04" y="283"/>
            <a:ext cx="12190993" cy="6857434"/>
          </a:xfrm>
          <a:prstGeom prst="rect">
            <a:avLst/>
          </a:prstGeom>
        </p:spPr>
      </p:pic>
      <p:sp>
        <p:nvSpPr>
          <p:cNvPr id="2" name="Titel 1"/>
          <p:cNvSpPr>
            <a:spLocks noGrp="1"/>
          </p:cNvSpPr>
          <p:nvPr>
            <p:ph type="ctrTitle"/>
          </p:nvPr>
        </p:nvSpPr>
        <p:spPr bwMode="gray">
          <a:xfrm>
            <a:off x="1200151" y="1773238"/>
            <a:ext cx="8736276" cy="1584326"/>
          </a:xfrm>
          <a:prstGeom prst="rect">
            <a:avLst/>
          </a:prstGeom>
        </p:spPr>
        <p:txBody>
          <a:bodyPr bIns="126000" anchor="b"/>
          <a:lstStyle>
            <a:lvl1pPr marL="0" indent="0">
              <a:lnSpc>
                <a:spcPct val="90000"/>
              </a:lnSpc>
              <a:defRPr/>
            </a:lvl1pPr>
          </a:lstStyle>
          <a:p>
            <a:r>
              <a:rPr lang="de-DE"/>
              <a:t>Titelmasterformat durch Klicken bearbeiten</a:t>
            </a:r>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16560" y="5652279"/>
            <a:ext cx="1728000" cy="958960"/>
          </a:xfrm>
          <a:prstGeom prst="rect">
            <a:avLst/>
          </a:prstGeom>
        </p:spPr>
      </p:pic>
      <p:sp>
        <p:nvSpPr>
          <p:cNvPr id="9" name="Line 11"/>
          <p:cNvSpPr>
            <a:spLocks noChangeShapeType="1"/>
          </p:cNvSpPr>
          <p:nvPr userDrawn="1"/>
        </p:nvSpPr>
        <p:spPr bwMode="gray">
          <a:xfrm>
            <a:off x="1200152" y="3357563"/>
            <a:ext cx="48958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3" name="Untertitel 2"/>
          <p:cNvSpPr>
            <a:spLocks noGrp="1"/>
          </p:cNvSpPr>
          <p:nvPr>
            <p:ph type="subTitle" idx="1"/>
          </p:nvPr>
        </p:nvSpPr>
        <p:spPr bwMode="gray">
          <a:xfrm>
            <a:off x="1200151" y="3573464"/>
            <a:ext cx="4895848" cy="1223689"/>
          </a:xfrm>
          <a:prstGeom prst="rect">
            <a:avLst/>
          </a:prstGeom>
        </p:spPr>
        <p:txBody>
          <a:bodyPr/>
          <a:lstStyle>
            <a:lvl1pPr marL="0" indent="0" algn="l">
              <a:spcBef>
                <a:spcPts val="288"/>
              </a:spcBef>
              <a:buNone/>
              <a:defRPr sz="1200">
                <a:solidFill>
                  <a:schemeClr val="tx1"/>
                </a:solidFill>
              </a:defRPr>
            </a:lvl1pPr>
            <a:lvl2pPr marL="3175" indent="0" algn="l">
              <a:buNone/>
              <a:defRPr sz="1200">
                <a:solidFill>
                  <a:schemeClr val="tx1"/>
                </a:solidFill>
              </a:defRPr>
            </a:lvl2pPr>
            <a:lvl3pPr marL="3175" indent="0" algn="l">
              <a:buNone/>
              <a:defRPr sz="1200">
                <a:solidFill>
                  <a:schemeClr val="tx1"/>
                </a:solidFill>
              </a:defRPr>
            </a:lvl3pPr>
            <a:lvl4pPr marL="3175" indent="0" algn="l">
              <a:buNone/>
              <a:defRPr sz="1200">
                <a:solidFill>
                  <a:schemeClr val="tx1"/>
                </a:solidFill>
              </a:defRPr>
            </a:lvl4pPr>
            <a:lvl5pPr marL="3175" indent="0" algn="l">
              <a:buNone/>
              <a:defRPr sz="1200">
                <a:solidFill>
                  <a:schemeClr val="tx1"/>
                </a:solidFill>
              </a:defRPr>
            </a:lvl5pPr>
            <a:lvl6pPr marL="3175" indent="0" algn="l">
              <a:buNone/>
              <a:defRPr sz="1200">
                <a:solidFill>
                  <a:schemeClr val="tx1"/>
                </a:solidFill>
              </a:defRPr>
            </a:lvl6pPr>
            <a:lvl7pPr marL="3175" indent="0" algn="l">
              <a:buNone/>
              <a:defRPr sz="1200">
                <a:solidFill>
                  <a:schemeClr val="tx1"/>
                </a:solidFill>
              </a:defRPr>
            </a:lvl7pPr>
            <a:lvl8pPr marL="3175" indent="0" algn="l">
              <a:buNone/>
              <a:defRPr sz="1200">
                <a:solidFill>
                  <a:schemeClr val="tx1"/>
                </a:solidFill>
              </a:defRPr>
            </a:lvl8pPr>
            <a:lvl9pPr marL="3175" indent="0" algn="l">
              <a:buNone/>
              <a:defRPr sz="1200">
                <a:solidFill>
                  <a:schemeClr val="tx1"/>
                </a:solidFill>
              </a:defRPr>
            </a:lvl9pPr>
          </a:lstStyle>
          <a:p>
            <a:pPr lvl="0"/>
            <a:r>
              <a:rPr lang="de-DE"/>
              <a:t>Formatvorlage des Untertitelmasters durch Klicken bearbeiten</a:t>
            </a:r>
          </a:p>
        </p:txBody>
      </p:sp>
    </p:spTree>
    <p:extLst>
      <p:ext uri="{BB962C8B-B14F-4D97-AF65-F5344CB8AC3E}">
        <p14:creationId xmlns:p14="http://schemas.microsoft.com/office/powerpoint/2010/main" val="3923215320"/>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tIns="0" rIns="0" bIns="108000"/>
          <a:lstStyle>
            <a:lvl1pPr marL="490538" indent="-490538">
              <a:defRPr>
                <a:latin typeface="+mj-lt"/>
              </a:defRPr>
            </a:lvl1pPr>
          </a:lstStyle>
          <a:p>
            <a:r>
              <a:rPr lang="de-DE"/>
              <a:t>Titelmasterformat durch Klicken bearbeiten</a:t>
            </a:r>
          </a:p>
        </p:txBody>
      </p:sp>
      <p:sp>
        <p:nvSpPr>
          <p:cNvPr id="3" name="Inhaltsplatzhalter 2"/>
          <p:cNvSpPr>
            <a:spLocks noGrp="1"/>
          </p:cNvSpPr>
          <p:nvPr>
            <p:ph idx="1"/>
          </p:nvPr>
        </p:nvSpPr>
        <p:spPr bwMode="gray">
          <a:xfrm>
            <a:off x="1200150" y="1772770"/>
            <a:ext cx="9791700" cy="4248618"/>
          </a:xfrm>
          <a:prstGeom prst="rect">
            <a:avLst/>
          </a:prstGeom>
        </p:spPr>
        <p:txBody>
          <a:bodyPr/>
          <a:lstStyle>
            <a:lvl1pPr marL="182563" indent="-182563">
              <a:defRPr/>
            </a:lvl1pPr>
            <a:lvl2pPr marL="539750" indent="-182563">
              <a:defRPr/>
            </a:lvl2pPr>
            <a:lvl3pPr marL="898525" indent="-184150">
              <a:defRPr/>
            </a:lvl3pPr>
            <a:lvl4pPr marL="1255713" indent="-184150">
              <a:defRPr/>
            </a:lvl4pPr>
            <a:lvl5pPr marL="1612900" indent="-174625">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bwMode="gray"/>
        <p:txBody>
          <a:bodyPr/>
          <a:lstStyle>
            <a:lvl1pPr>
              <a:defRPr/>
            </a:lvl1pPr>
          </a:lstStyle>
          <a:p>
            <a:r>
              <a:rPr lang="de-DE">
                <a:solidFill>
                  <a:srgbClr val="001155"/>
                </a:solidFill>
              </a:rPr>
              <a:t>02.05.2016</a:t>
            </a:r>
          </a:p>
        </p:txBody>
      </p:sp>
      <p:sp>
        <p:nvSpPr>
          <p:cNvPr id="5" name="Foliennummernplatzhalter 4"/>
          <p:cNvSpPr>
            <a:spLocks noGrp="1"/>
          </p:cNvSpPr>
          <p:nvPr>
            <p:ph type="sldNum" sz="quarter" idx="11"/>
          </p:nvPr>
        </p:nvSpPr>
        <p:spPr bwMode="gray"/>
        <p:txBody>
          <a:bodyPr/>
          <a:lstStyle>
            <a:lvl1pPr>
              <a:defRPr/>
            </a:lvl1pPr>
          </a:lstStyle>
          <a:p>
            <a:fld id="{C75F937F-578B-432D-B413-03DE4E4B2A9B}" type="slidenum">
              <a:rPr lang="de-DE" smtClean="0">
                <a:solidFill>
                  <a:srgbClr val="001155"/>
                </a:solidFill>
              </a:rPr>
              <a:pPr/>
              <a:t>‹#›</a:t>
            </a:fld>
            <a:endParaRPr lang="de-DE">
              <a:solidFill>
                <a:srgbClr val="001155"/>
              </a:solidFill>
            </a:endParaRPr>
          </a:p>
        </p:txBody>
      </p:sp>
      <p:sp>
        <p:nvSpPr>
          <p:cNvPr id="6" name="Fußzeilenplatzhalter 5"/>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2180441810"/>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a:t>Titelmasterformat durch Klicken bearbeiten</a:t>
            </a:r>
          </a:p>
        </p:txBody>
      </p:sp>
      <p:sp>
        <p:nvSpPr>
          <p:cNvPr id="3" name="Inhaltsplatzhalter 2"/>
          <p:cNvSpPr>
            <a:spLocks noGrp="1"/>
          </p:cNvSpPr>
          <p:nvPr>
            <p:ph sz="half" idx="1"/>
          </p:nvPr>
        </p:nvSpPr>
        <p:spPr bwMode="gray">
          <a:xfrm>
            <a:off x="1200151" y="1773238"/>
            <a:ext cx="4799836"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bwMode="gray">
          <a:xfrm>
            <a:off x="6192014" y="1773238"/>
            <a:ext cx="4799837"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744524472"/>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3" name="Inhaltsplatzhalter 2"/>
          <p:cNvSpPr>
            <a:spLocks noGrp="1"/>
          </p:cNvSpPr>
          <p:nvPr>
            <p:ph sz="half" idx="1"/>
          </p:nvPr>
        </p:nvSpPr>
        <p:spPr bwMode="gray">
          <a:xfrm>
            <a:off x="1200151" y="1773238"/>
            <a:ext cx="4799836"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9" name="Bildplatzhalter 8"/>
          <p:cNvSpPr>
            <a:spLocks noGrp="1"/>
          </p:cNvSpPr>
          <p:nvPr>
            <p:ph type="pic" sz="quarter" idx="13" hasCustomPrompt="1"/>
          </p:nvPr>
        </p:nvSpPr>
        <p:spPr bwMode="gray">
          <a:xfrm>
            <a:off x="6191251" y="1773238"/>
            <a:ext cx="4800600" cy="424815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2203364699"/>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und 3 Bilder">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3" name="Inhaltsplatzhalter 2"/>
          <p:cNvSpPr>
            <a:spLocks noGrp="1"/>
          </p:cNvSpPr>
          <p:nvPr>
            <p:ph sz="half" idx="1"/>
          </p:nvPr>
        </p:nvSpPr>
        <p:spPr bwMode="gray">
          <a:xfrm>
            <a:off x="1200151" y="1773238"/>
            <a:ext cx="4799836" cy="2303852"/>
          </a:xfrm>
          <a:prstGeom prst="rect">
            <a:avLst/>
          </a:prstGeom>
        </p:spPr>
        <p:txBody>
          <a:bodyPr/>
          <a:lstStyle>
            <a:lvl1pPr marL="0" indent="0">
              <a:buNone/>
              <a:defRPr sz="1200"/>
            </a:lvl1pPr>
            <a:lvl2pPr marL="182563" indent="-182563">
              <a:buClr>
                <a:schemeClr val="accent2"/>
              </a:buClr>
              <a:buFont typeface="Arial" pitchFamily="34" charset="0"/>
              <a:buChar char="•"/>
              <a:defRPr sz="1200"/>
            </a:lvl2pPr>
            <a:lvl3pPr marL="361950" indent="-184150">
              <a:defRPr sz="1200"/>
            </a:lvl3pPr>
            <a:lvl4pPr marL="536575" indent="-184150">
              <a:defRPr sz="1200"/>
            </a:lvl4pPr>
            <a:lvl5pPr marL="714375" indent="-182563">
              <a:defRPr sz="1200"/>
            </a:lvl5pPr>
            <a:lvl6pPr marL="714375" indent="-174625">
              <a:defRPr sz="1200"/>
            </a:lvl6pPr>
            <a:lvl7pPr marL="714375" indent="-174625">
              <a:defRPr sz="1200"/>
            </a:lvl7pPr>
            <a:lvl8pPr marL="714375" indent="-174625">
              <a:defRPr sz="1200"/>
            </a:lvl8pPr>
            <a:lvl9pPr marL="714375" indent="-174625">
              <a:defRPr sz="12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9" name="Bildplatzhalter 8"/>
          <p:cNvSpPr>
            <a:spLocks noGrp="1"/>
          </p:cNvSpPr>
          <p:nvPr>
            <p:ph type="pic" sz="quarter" idx="13" hasCustomPrompt="1"/>
          </p:nvPr>
        </p:nvSpPr>
        <p:spPr bwMode="gray">
          <a:xfrm>
            <a:off x="6191251" y="1773238"/>
            <a:ext cx="4800600" cy="2303852"/>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0" name="Bildplatzhalter 8"/>
          <p:cNvSpPr>
            <a:spLocks noGrp="1"/>
          </p:cNvSpPr>
          <p:nvPr>
            <p:ph type="pic" sz="quarter" idx="14" hasCustomPrompt="1"/>
          </p:nvPr>
        </p:nvSpPr>
        <p:spPr bwMode="gray">
          <a:xfrm>
            <a:off x="4943840" y="4220564"/>
            <a:ext cx="604801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1" name="Bildplatzhalter 8"/>
          <p:cNvSpPr>
            <a:spLocks noGrp="1"/>
          </p:cNvSpPr>
          <p:nvPr>
            <p:ph type="pic" sz="quarter" idx="15" hasCustomPrompt="1"/>
          </p:nvPr>
        </p:nvSpPr>
        <p:spPr bwMode="gray">
          <a:xfrm>
            <a:off x="1196143" y="4220564"/>
            <a:ext cx="355567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3677906620"/>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8" name="Inhaltsplatzhalter 7"/>
          <p:cNvSpPr>
            <a:spLocks noGrp="1"/>
          </p:cNvSpPr>
          <p:nvPr>
            <p:ph sz="quarter" idx="17"/>
          </p:nvPr>
        </p:nvSpPr>
        <p:spPr>
          <a:xfrm>
            <a:off x="1200151" y="1773239"/>
            <a:ext cx="4800600" cy="208780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7"/>
          <p:cNvSpPr>
            <a:spLocks noGrp="1"/>
          </p:cNvSpPr>
          <p:nvPr>
            <p:ph sz="quarter" idx="18"/>
          </p:nvPr>
        </p:nvSpPr>
        <p:spPr>
          <a:xfrm>
            <a:off x="6191251" y="1773239"/>
            <a:ext cx="4800600" cy="208780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6" name="Inhaltsplatzhalter 7"/>
          <p:cNvSpPr>
            <a:spLocks noGrp="1"/>
          </p:cNvSpPr>
          <p:nvPr>
            <p:ph sz="quarter" idx="19"/>
          </p:nvPr>
        </p:nvSpPr>
        <p:spPr>
          <a:xfrm>
            <a:off x="1200151" y="4005064"/>
            <a:ext cx="4800600" cy="201622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7"/>
          <p:cNvSpPr>
            <a:spLocks noGrp="1"/>
          </p:cNvSpPr>
          <p:nvPr>
            <p:ph sz="quarter" idx="20"/>
          </p:nvPr>
        </p:nvSpPr>
        <p:spPr>
          <a:xfrm>
            <a:off x="6191251" y="4005064"/>
            <a:ext cx="4800600" cy="201622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79632554"/>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anzseitiges Bild">
    <p:spTree>
      <p:nvGrpSpPr>
        <p:cNvPr id="1" name=""/>
        <p:cNvGrpSpPr/>
        <p:nvPr/>
      </p:nvGrpSpPr>
      <p:grpSpPr>
        <a:xfrm>
          <a:off x="0" y="0"/>
          <a:ext cx="0" cy="0"/>
          <a:chOff x="0" y="0"/>
          <a:chExt cx="0" cy="0"/>
        </a:xfrm>
      </p:grpSpPr>
      <p:sp>
        <p:nvSpPr>
          <p:cNvPr id="10" name="Bildplatzhalter 8"/>
          <p:cNvSpPr>
            <a:spLocks noGrp="1"/>
          </p:cNvSpPr>
          <p:nvPr>
            <p:ph type="pic" sz="quarter" idx="14" hasCustomPrompt="1"/>
          </p:nvPr>
        </p:nvSpPr>
        <p:spPr bwMode="gray">
          <a:xfrm>
            <a:off x="0" y="0"/>
            <a:ext cx="12192000" cy="685800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1400737647"/>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a:t>Titelmasterformat durch Klicken bearbeiten</a:t>
            </a:r>
          </a:p>
        </p:txBody>
      </p:sp>
      <p:sp>
        <p:nvSpPr>
          <p:cNvPr id="3" name="Datumsplatzhalter 2"/>
          <p:cNvSpPr>
            <a:spLocks noGrp="1"/>
          </p:cNvSpPr>
          <p:nvPr>
            <p:ph type="dt" sz="half" idx="10"/>
          </p:nvPr>
        </p:nvSpPr>
        <p:spPr bwMode="gray"/>
        <p:txBody>
          <a:bodyPr/>
          <a:lstStyle>
            <a:lvl1pPr>
              <a:defRPr/>
            </a:lvl1pPr>
          </a:lstStyle>
          <a:p>
            <a:r>
              <a:rPr lang="de-DE">
                <a:solidFill>
                  <a:srgbClr val="001155"/>
                </a:solidFill>
              </a:rPr>
              <a:t>02.05.2016</a:t>
            </a:r>
          </a:p>
        </p:txBody>
      </p:sp>
      <p:sp>
        <p:nvSpPr>
          <p:cNvPr id="4" name="Foliennummernplatzhalter 3"/>
          <p:cNvSpPr>
            <a:spLocks noGrp="1"/>
          </p:cNvSpPr>
          <p:nvPr>
            <p:ph type="sldNum" sz="quarter" idx="11"/>
          </p:nvPr>
        </p:nvSpPr>
        <p:spPr bwMode="gray"/>
        <p:txBody>
          <a:bodyPr/>
          <a:lstStyle>
            <a:lvl1pPr>
              <a:defRPr/>
            </a:lvl1pPr>
          </a:lstStyle>
          <a:p>
            <a:fld id="{C9256D23-CF6F-4568-8D84-AFC419FB7476}" type="slidenum">
              <a:rPr lang="de-DE" smtClean="0">
                <a:solidFill>
                  <a:srgbClr val="001155"/>
                </a:solidFill>
              </a:rPr>
              <a:pPr/>
              <a:t>‹#›</a:t>
            </a:fld>
            <a:endParaRPr lang="de-DE">
              <a:solidFill>
                <a:srgbClr val="001155"/>
              </a:solidFill>
            </a:endParaRPr>
          </a:p>
        </p:txBody>
      </p:sp>
      <p:sp>
        <p:nvSpPr>
          <p:cNvPr id="5" name="Fußzeilenplatzhalter 4"/>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1121181847"/>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02.05.2016</a:t>
            </a: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de-DE" smtClean="0">
                <a:solidFill>
                  <a:srgbClr val="001155"/>
                </a:solidFill>
              </a:rPr>
              <a:pPr/>
              <a:t>‹#›</a:t>
            </a:fld>
            <a:endParaRPr lang="de-DE">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
        <p:nvSpPr>
          <p:cNvPr id="6" name="Line 13"/>
          <p:cNvSpPr>
            <a:spLocks noChangeShapeType="1"/>
          </p:cNvSpPr>
          <p:nvPr userDrawn="1"/>
        </p:nvSpPr>
        <p:spPr bwMode="gray">
          <a:xfrm>
            <a:off x="11567585"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7" name="Line 8"/>
          <p:cNvSpPr>
            <a:spLocks noChangeShapeType="1"/>
          </p:cNvSpPr>
          <p:nvPr userDrawn="1"/>
        </p:nvSpPr>
        <p:spPr bwMode="gray">
          <a:xfrm flipV="1">
            <a:off x="11569699"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Tree>
    <p:extLst>
      <p:ext uri="{BB962C8B-B14F-4D97-AF65-F5344CB8AC3E}">
        <p14:creationId xmlns:p14="http://schemas.microsoft.com/office/powerpoint/2010/main" val="3625864584"/>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02.05.2016</a:t>
            </a: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de-DE" smtClean="0">
                <a:solidFill>
                  <a:srgbClr val="001155"/>
                </a:solidFill>
              </a:rPr>
              <a:pPr/>
              <a:t>‹#›</a:t>
            </a:fld>
            <a:endParaRPr lang="de-DE">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latin typeface="+mj-lt"/>
              </a:defRPr>
            </a:lvl1pPr>
            <a:lvl2pPr marL="536575" indent="-489600">
              <a:spcBef>
                <a:spcPts val="0"/>
              </a:spcBef>
              <a:buFont typeface="Arial" pitchFamily="34" charset="0"/>
              <a:buNone/>
              <a:defRPr sz="4400"/>
            </a:lvl2pPr>
            <a:lvl3pPr marL="536575" indent="-489600">
              <a:spcBef>
                <a:spcPts val="0"/>
              </a:spcBef>
              <a:buFont typeface="Arial" pitchFamily="34" charset="0"/>
              <a:buNone/>
              <a:defRPr sz="4400"/>
            </a:lvl3pPr>
            <a:lvl4pPr marL="0" indent="0">
              <a:buNone/>
              <a:defRPr sz="4400"/>
            </a:lvl4pPr>
            <a:lvl5pPr marL="536575" indent="-489600">
              <a:spcBef>
                <a:spcPts val="0"/>
              </a:spcBef>
              <a:buFont typeface="Arial" pitchFamily="34" charset="0"/>
              <a:buNone/>
              <a:defRPr sz="4400"/>
            </a:lvl5pPr>
            <a:lvl6pPr marL="536575" indent="-489600">
              <a:spcBef>
                <a:spcPts val="0"/>
              </a:spcBef>
              <a:buNone/>
              <a:defRPr sz="4400"/>
            </a:lvl6pPr>
            <a:lvl7pPr marL="536575" indent="-489600">
              <a:spcBef>
                <a:spcPts val="0"/>
              </a:spcBef>
              <a:buNone/>
              <a:defRPr sz="4400"/>
            </a:lvl7pPr>
            <a:lvl8pPr marL="536575" indent="-489600">
              <a:spcBef>
                <a:spcPts val="0"/>
              </a:spcBef>
              <a:buNone/>
              <a:defRPr sz="4400"/>
            </a:lvl8pPr>
            <a:lvl9pPr marL="536575" indent="-489600">
              <a:spcBef>
                <a:spcPts val="0"/>
              </a:spcBef>
              <a:buNone/>
              <a:defRPr sz="4400"/>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Tree>
    <p:extLst>
      <p:ext uri="{BB962C8B-B14F-4D97-AF65-F5344CB8AC3E}">
        <p14:creationId xmlns:p14="http://schemas.microsoft.com/office/powerpoint/2010/main" val="182903038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sp>
        <p:nvSpPr>
          <p:cNvPr id="5" name="Freeform 6"/>
          <p:cNvSpPr>
            <a:spLocks/>
          </p:cNvSpPr>
          <p:nvPr userDrawn="1"/>
        </p:nvSpPr>
        <p:spPr bwMode="auto">
          <a:xfrm flipH="1">
            <a:off x="2" y="5243514"/>
            <a:ext cx="11004551" cy="1336675"/>
          </a:xfrm>
          <a:custGeom>
            <a:avLst/>
            <a:gdLst>
              <a:gd name="T0" fmla="*/ 2147483647 w 744"/>
              <a:gd name="T1" fmla="*/ 2147483647 h 134"/>
              <a:gd name="T2" fmla="*/ 2147483647 w 744"/>
              <a:gd name="T3" fmla="*/ 2147483647 h 134"/>
              <a:gd name="T4" fmla="*/ 2147483647 w 744"/>
              <a:gd name="T5" fmla="*/ 2147483647 h 134"/>
              <a:gd name="T6" fmla="*/ 2147483647 w 744"/>
              <a:gd name="T7" fmla="*/ 2147483647 h 134"/>
              <a:gd name="T8" fmla="*/ 2147483647 w 744"/>
              <a:gd name="T9" fmla="*/ 2147483647 h 134"/>
              <a:gd name="T10" fmla="*/ 2147483647 w 744"/>
              <a:gd name="T11" fmla="*/ 2147483647 h 134"/>
              <a:gd name="T12" fmla="*/ 2147483647 w 744"/>
              <a:gd name="T13" fmla="*/ 2147483647 h 134"/>
              <a:gd name="T14" fmla="*/ 2147483647 w 744"/>
              <a:gd name="T15" fmla="*/ 2147483647 h 134"/>
              <a:gd name="T16" fmla="*/ 2147483647 w 744"/>
              <a:gd name="T17" fmla="*/ 2147483647 h 134"/>
              <a:gd name="T18" fmla="*/ 2147483647 w 744"/>
              <a:gd name="T19" fmla="*/ 2147483647 h 134"/>
              <a:gd name="T20" fmla="*/ 2147483647 w 744"/>
              <a:gd name="T21" fmla="*/ 2147483647 h 134"/>
              <a:gd name="T22" fmla="*/ 2147483647 w 744"/>
              <a:gd name="T23" fmla="*/ 2147483647 h 134"/>
              <a:gd name="T24" fmla="*/ 2147483647 w 744"/>
              <a:gd name="T25" fmla="*/ 2147483647 h 134"/>
              <a:gd name="T26" fmla="*/ 2147483647 w 744"/>
              <a:gd name="T27" fmla="*/ 2147483647 h 134"/>
              <a:gd name="T28" fmla="*/ 2147483647 w 744"/>
              <a:gd name="T29" fmla="*/ 2147483647 h 134"/>
              <a:gd name="T30" fmla="*/ 2147483647 w 744"/>
              <a:gd name="T31" fmla="*/ 2147483647 h 134"/>
              <a:gd name="T32" fmla="*/ 2147483647 w 744"/>
              <a:gd name="T33" fmla="*/ 2147483647 h 134"/>
              <a:gd name="T34" fmla="*/ 2147483647 w 744"/>
              <a:gd name="T35" fmla="*/ 2147483647 h 134"/>
              <a:gd name="T36" fmla="*/ 2147483647 w 744"/>
              <a:gd name="T37" fmla="*/ 2147483647 h 134"/>
              <a:gd name="T38" fmla="*/ 2147483647 w 744"/>
              <a:gd name="T39" fmla="*/ 2147483647 h 134"/>
              <a:gd name="T40" fmla="*/ 2147483647 w 744"/>
              <a:gd name="T41" fmla="*/ 2147483647 h 134"/>
              <a:gd name="T42" fmla="*/ 2147483647 w 744"/>
              <a:gd name="T43" fmla="*/ 2147483647 h 134"/>
              <a:gd name="T44" fmla="*/ 2147483647 w 744"/>
              <a:gd name="T45" fmla="*/ 2147483647 h 134"/>
              <a:gd name="T46" fmla="*/ 2147483647 w 744"/>
              <a:gd name="T47" fmla="*/ 2147483647 h 134"/>
              <a:gd name="T48" fmla="*/ 2147483647 w 744"/>
              <a:gd name="T49" fmla="*/ 2147483647 h 134"/>
              <a:gd name="T50" fmla="*/ 2147483647 w 744"/>
              <a:gd name="T51" fmla="*/ 2147483647 h 134"/>
              <a:gd name="T52" fmla="*/ 2147483647 w 744"/>
              <a:gd name="T53" fmla="*/ 2147483647 h 134"/>
              <a:gd name="T54" fmla="*/ 2147483647 w 744"/>
              <a:gd name="T55" fmla="*/ 2147483647 h 134"/>
              <a:gd name="T56" fmla="*/ 2147483647 w 744"/>
              <a:gd name="T57" fmla="*/ 2147483647 h 134"/>
              <a:gd name="T58" fmla="*/ 2147483647 w 744"/>
              <a:gd name="T59" fmla="*/ 2147483647 h 134"/>
              <a:gd name="T60" fmla="*/ 2147483647 w 744"/>
              <a:gd name="T61" fmla="*/ 2147483647 h 134"/>
              <a:gd name="T62" fmla="*/ 2147483647 w 744"/>
              <a:gd name="T63" fmla="*/ 0 h 134"/>
              <a:gd name="T64" fmla="*/ 2147483647 w 744"/>
              <a:gd name="T65" fmla="*/ 2147483647 h 134"/>
              <a:gd name="T66" fmla="*/ 2147483647 w 744"/>
              <a:gd name="T67" fmla="*/ 2147483647 h 134"/>
              <a:gd name="T68" fmla="*/ 2147483647 w 744"/>
              <a:gd name="T69" fmla="*/ 0 h 134"/>
              <a:gd name="T70" fmla="*/ 2147483647 w 744"/>
              <a:gd name="T71" fmla="*/ 2147483647 h 134"/>
              <a:gd name="T72" fmla="*/ 2147483647 w 744"/>
              <a:gd name="T73" fmla="*/ 2147483647 h 134"/>
              <a:gd name="T74" fmla="*/ 2147483647 w 744"/>
              <a:gd name="T75" fmla="*/ 2147483647 h 134"/>
              <a:gd name="T76" fmla="*/ 2147483647 w 744"/>
              <a:gd name="T77" fmla="*/ 2147483647 h 134"/>
              <a:gd name="T78" fmla="*/ 2147483647 w 744"/>
              <a:gd name="T79" fmla="*/ 2147483647 h 134"/>
              <a:gd name="T80" fmla="*/ 2147483647 w 744"/>
              <a:gd name="T81" fmla="*/ 2147483647 h 134"/>
              <a:gd name="T82" fmla="*/ 0 w 744"/>
              <a:gd name="T83" fmla="*/ 2147483647 h 134"/>
              <a:gd name="T84" fmla="*/ 2147483647 w 744"/>
              <a:gd name="T85" fmla="*/ 2147483647 h 1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44" h="134">
                <a:moveTo>
                  <a:pt x="9" y="81"/>
                </a:moveTo>
                <a:lnTo>
                  <a:pt x="9" y="73"/>
                </a:lnTo>
                <a:lnTo>
                  <a:pt x="20" y="73"/>
                </a:lnTo>
                <a:lnTo>
                  <a:pt x="20" y="67"/>
                </a:lnTo>
                <a:lnTo>
                  <a:pt x="28" y="67"/>
                </a:lnTo>
                <a:lnTo>
                  <a:pt x="28" y="74"/>
                </a:lnTo>
                <a:lnTo>
                  <a:pt x="35" y="74"/>
                </a:lnTo>
                <a:lnTo>
                  <a:pt x="35" y="83"/>
                </a:lnTo>
                <a:lnTo>
                  <a:pt x="53" y="83"/>
                </a:lnTo>
                <a:lnTo>
                  <a:pt x="53" y="69"/>
                </a:lnTo>
                <a:lnTo>
                  <a:pt x="71" y="59"/>
                </a:lnTo>
                <a:lnTo>
                  <a:pt x="71" y="21"/>
                </a:lnTo>
                <a:lnTo>
                  <a:pt x="98" y="21"/>
                </a:lnTo>
                <a:lnTo>
                  <a:pt x="98" y="134"/>
                </a:lnTo>
                <a:lnTo>
                  <a:pt x="106" y="134"/>
                </a:lnTo>
                <a:lnTo>
                  <a:pt x="106" y="113"/>
                </a:lnTo>
                <a:lnTo>
                  <a:pt x="98" y="113"/>
                </a:lnTo>
                <a:lnTo>
                  <a:pt x="98" y="105"/>
                </a:lnTo>
                <a:lnTo>
                  <a:pt x="105" y="105"/>
                </a:lnTo>
                <a:lnTo>
                  <a:pt x="105" y="87"/>
                </a:lnTo>
                <a:lnTo>
                  <a:pt x="98" y="87"/>
                </a:lnTo>
                <a:lnTo>
                  <a:pt x="98" y="79"/>
                </a:lnTo>
                <a:lnTo>
                  <a:pt x="105" y="79"/>
                </a:lnTo>
                <a:lnTo>
                  <a:pt x="105" y="59"/>
                </a:lnTo>
                <a:lnTo>
                  <a:pt x="98" y="59"/>
                </a:lnTo>
                <a:lnTo>
                  <a:pt x="98" y="51"/>
                </a:lnTo>
                <a:lnTo>
                  <a:pt x="105" y="51"/>
                </a:lnTo>
                <a:lnTo>
                  <a:pt x="105" y="25"/>
                </a:lnTo>
                <a:lnTo>
                  <a:pt x="116" y="44"/>
                </a:lnTo>
                <a:lnTo>
                  <a:pt x="116" y="73"/>
                </a:lnTo>
                <a:lnTo>
                  <a:pt x="146" y="73"/>
                </a:lnTo>
                <a:lnTo>
                  <a:pt x="146" y="39"/>
                </a:lnTo>
                <a:lnTo>
                  <a:pt x="192" y="26"/>
                </a:lnTo>
                <a:lnTo>
                  <a:pt x="192" y="89"/>
                </a:lnTo>
                <a:lnTo>
                  <a:pt x="206" y="89"/>
                </a:lnTo>
                <a:lnTo>
                  <a:pt x="206" y="64"/>
                </a:lnTo>
                <a:lnTo>
                  <a:pt x="229" y="64"/>
                </a:lnTo>
                <a:lnTo>
                  <a:pt x="229" y="89"/>
                </a:lnTo>
                <a:lnTo>
                  <a:pt x="236" y="89"/>
                </a:lnTo>
                <a:lnTo>
                  <a:pt x="236" y="56"/>
                </a:lnTo>
                <a:lnTo>
                  <a:pt x="285" y="69"/>
                </a:lnTo>
                <a:lnTo>
                  <a:pt x="285" y="88"/>
                </a:lnTo>
                <a:lnTo>
                  <a:pt x="291" y="88"/>
                </a:lnTo>
                <a:lnTo>
                  <a:pt x="291" y="41"/>
                </a:lnTo>
                <a:lnTo>
                  <a:pt x="326" y="33"/>
                </a:lnTo>
                <a:lnTo>
                  <a:pt x="326" y="79"/>
                </a:lnTo>
                <a:lnTo>
                  <a:pt x="344" y="79"/>
                </a:lnTo>
                <a:lnTo>
                  <a:pt x="344" y="49"/>
                </a:lnTo>
                <a:lnTo>
                  <a:pt x="354" y="49"/>
                </a:lnTo>
                <a:lnTo>
                  <a:pt x="354" y="22"/>
                </a:lnTo>
                <a:lnTo>
                  <a:pt x="374" y="22"/>
                </a:lnTo>
                <a:lnTo>
                  <a:pt x="374" y="48"/>
                </a:lnTo>
                <a:lnTo>
                  <a:pt x="383" y="48"/>
                </a:lnTo>
                <a:lnTo>
                  <a:pt x="383" y="81"/>
                </a:lnTo>
                <a:lnTo>
                  <a:pt x="415" y="81"/>
                </a:lnTo>
                <a:lnTo>
                  <a:pt x="415" y="40"/>
                </a:lnTo>
                <a:lnTo>
                  <a:pt x="470" y="26"/>
                </a:lnTo>
                <a:lnTo>
                  <a:pt x="470" y="101"/>
                </a:lnTo>
                <a:lnTo>
                  <a:pt x="521" y="101"/>
                </a:lnTo>
                <a:lnTo>
                  <a:pt x="521" y="79"/>
                </a:lnTo>
                <a:lnTo>
                  <a:pt x="554" y="79"/>
                </a:lnTo>
                <a:lnTo>
                  <a:pt x="554" y="6"/>
                </a:lnTo>
                <a:lnTo>
                  <a:pt x="559" y="6"/>
                </a:lnTo>
                <a:lnTo>
                  <a:pt x="561" y="0"/>
                </a:lnTo>
                <a:lnTo>
                  <a:pt x="569" y="0"/>
                </a:lnTo>
                <a:lnTo>
                  <a:pt x="571" y="6"/>
                </a:lnTo>
                <a:lnTo>
                  <a:pt x="578" y="6"/>
                </a:lnTo>
                <a:lnTo>
                  <a:pt x="595" y="6"/>
                </a:lnTo>
                <a:lnTo>
                  <a:pt x="598" y="0"/>
                </a:lnTo>
                <a:lnTo>
                  <a:pt x="606" y="0"/>
                </a:lnTo>
                <a:lnTo>
                  <a:pt x="609" y="6"/>
                </a:lnTo>
                <a:lnTo>
                  <a:pt x="612" y="6"/>
                </a:lnTo>
                <a:lnTo>
                  <a:pt x="612" y="92"/>
                </a:lnTo>
                <a:lnTo>
                  <a:pt x="649" y="92"/>
                </a:lnTo>
                <a:lnTo>
                  <a:pt x="649" y="62"/>
                </a:lnTo>
                <a:lnTo>
                  <a:pt x="705" y="77"/>
                </a:lnTo>
                <a:lnTo>
                  <a:pt x="705" y="92"/>
                </a:lnTo>
                <a:lnTo>
                  <a:pt x="731" y="92"/>
                </a:lnTo>
                <a:lnTo>
                  <a:pt x="731" y="37"/>
                </a:lnTo>
                <a:lnTo>
                  <a:pt x="737" y="31"/>
                </a:lnTo>
                <a:lnTo>
                  <a:pt x="737" y="16"/>
                </a:lnTo>
                <a:lnTo>
                  <a:pt x="744" y="16"/>
                </a:lnTo>
                <a:lnTo>
                  <a:pt x="744" y="134"/>
                </a:lnTo>
                <a:lnTo>
                  <a:pt x="0" y="134"/>
                </a:lnTo>
                <a:lnTo>
                  <a:pt x="0" y="81"/>
                </a:lnTo>
                <a:lnTo>
                  <a:pt x="9" y="81"/>
                </a:lnTo>
                <a:close/>
              </a:path>
            </a:pathLst>
          </a:custGeom>
          <a:solidFill>
            <a:schemeClr val="tx1">
              <a:alpha val="23921"/>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pic>
        <p:nvPicPr>
          <p:cNvPr id="6"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81749760"/>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apiteltrenner blau">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de-DE" smtClean="0">
                <a:solidFill>
                  <a:prstClr val="white"/>
                </a:solidFill>
              </a:rPr>
              <a:pPr/>
              <a:t>‹#›</a:t>
            </a:fld>
            <a:endParaRPr lang="de-DE">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3603401818"/>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apiteltrenner ro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de-DE" smtClean="0">
                <a:solidFill>
                  <a:prstClr val="white"/>
                </a:solidFill>
              </a:rPr>
              <a:pPr/>
              <a:t>‹#›</a:t>
            </a:fld>
            <a:endParaRPr lang="de-DE">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3304748404"/>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p:spTree>
      <p:nvGrpSpPr>
        <p:cNvPr id="1" name=""/>
        <p:cNvGrpSpPr/>
        <p:nvPr/>
      </p:nvGrpSpPr>
      <p:grpSpPr>
        <a:xfrm>
          <a:off x="0" y="0"/>
          <a:ext cx="0" cy="0"/>
          <a:chOff x="0" y="0"/>
          <a:chExt cx="0" cy="0"/>
        </a:xfrm>
      </p:grpSpPr>
      <p:sp>
        <p:nvSpPr>
          <p:cNvPr id="17" name="Bildplatzhalter 16"/>
          <p:cNvSpPr>
            <a:spLocks noGrp="1"/>
          </p:cNvSpPr>
          <p:nvPr>
            <p:ph type="pic" sz="quarter" idx="16" hasCustomPrompt="1"/>
          </p:nvPr>
        </p:nvSpPr>
        <p:spPr bwMode="gray">
          <a:xfrm>
            <a:off x="0" y="0"/>
            <a:ext cx="12192000" cy="6858000"/>
          </a:xfrm>
          <a:prstGeom prst="rect">
            <a:avLst/>
          </a:prstGeom>
        </p:spPr>
        <p:txBody>
          <a:bodyPr anchor="ctr"/>
          <a:lstStyle>
            <a:lvl1pPr marL="0" indent="0" algn="ctr">
              <a:buNone/>
              <a:defRPr sz="100"/>
            </a:lvl1pPr>
          </a:lstStyle>
          <a:p>
            <a:r>
              <a:rPr lang="de-CH" noProof="0"/>
              <a:t>Platzieren Sie hier ein Bild</a:t>
            </a:r>
          </a:p>
        </p:txBody>
      </p:sp>
      <p:sp>
        <p:nvSpPr>
          <p:cNvPr id="8" name="Textplatzhalter 7"/>
          <p:cNvSpPr>
            <a:spLocks noGrp="1"/>
          </p:cNvSpPr>
          <p:nvPr>
            <p:ph type="body" sz="quarter" idx="13"/>
          </p:nvPr>
        </p:nvSpPr>
        <p:spPr bwMode="gray">
          <a:xfrm>
            <a:off x="527051" y="1412875"/>
            <a:ext cx="5568951" cy="1944688"/>
          </a:xfrm>
          <a:prstGeom prst="rect">
            <a:avLst/>
          </a:prstGeom>
        </p:spPr>
        <p:txBody>
          <a:bodyPr bIns="0" anchor="ctr"/>
          <a:lstStyle>
            <a:lvl1pPr marL="490538" indent="-490538">
              <a:spcBef>
                <a:spcPts val="0"/>
              </a:spcBef>
              <a:buNone/>
              <a:defRPr sz="4400">
                <a:solidFill>
                  <a:schemeClr val="tx1"/>
                </a:solidFill>
                <a:latin typeface="+mj-lt"/>
              </a:defRPr>
            </a:lvl1pPr>
            <a:lvl2pPr marL="0" indent="-489600">
              <a:spcBef>
                <a:spcPts val="0"/>
              </a:spcBef>
              <a:buFont typeface="Arial" pitchFamily="34" charset="0"/>
              <a:buNone/>
              <a:defRPr sz="4400"/>
            </a:lvl2pPr>
            <a:lvl3pPr marL="0" indent="-489600">
              <a:spcBef>
                <a:spcPts val="0"/>
              </a:spcBef>
              <a:buFont typeface="Arial" pitchFamily="34" charset="0"/>
              <a:buNone/>
              <a:defRPr sz="4400"/>
            </a:lvl3pPr>
            <a:lvl4pPr marL="0" indent="0">
              <a:buNone/>
              <a:defRPr sz="4400"/>
            </a:lvl4pPr>
            <a:lvl5pPr marL="0" indent="-489600">
              <a:spcBef>
                <a:spcPts val="0"/>
              </a:spcBef>
              <a:buFont typeface="Arial" pitchFamily="34" charset="0"/>
              <a:buNone/>
              <a:defRPr sz="4400"/>
            </a:lvl5pPr>
            <a:lvl6pPr marL="0" indent="-489600">
              <a:spcBef>
                <a:spcPts val="0"/>
              </a:spcBef>
              <a:buNone/>
              <a:defRPr sz="4400"/>
            </a:lvl6pPr>
            <a:lvl7pPr marL="0" indent="-489600">
              <a:spcBef>
                <a:spcPts val="0"/>
              </a:spcBef>
              <a:buNone/>
              <a:defRPr sz="4400"/>
            </a:lvl7pPr>
            <a:lvl8pPr marL="0" indent="-489600">
              <a:spcBef>
                <a:spcPts val="0"/>
              </a:spcBef>
              <a:buNone/>
              <a:defRPr sz="4400"/>
            </a:lvl8pPr>
            <a:lvl9pPr marL="0" indent="-489600">
              <a:spcBef>
                <a:spcPts val="0"/>
              </a:spcBef>
              <a:buNone/>
              <a:defRPr sz="4400"/>
            </a:lvl9pPr>
          </a:lstStyle>
          <a:p>
            <a:pPr lvl="0"/>
            <a:r>
              <a:rPr lang="de-DE"/>
              <a:t>Textmasterformat bearbeiten</a:t>
            </a:r>
          </a:p>
        </p:txBody>
      </p:sp>
      <p:sp>
        <p:nvSpPr>
          <p:cNvPr id="15" name="Textplatzhalter 14"/>
          <p:cNvSpPr>
            <a:spLocks noGrp="1"/>
          </p:cNvSpPr>
          <p:nvPr>
            <p:ph type="body" sz="quarter" idx="15"/>
          </p:nvPr>
        </p:nvSpPr>
        <p:spPr bwMode="gray">
          <a:xfrm>
            <a:off x="1198034" y="3860801"/>
            <a:ext cx="4897967" cy="1368425"/>
          </a:xfrm>
          <a:prstGeom prst="rect">
            <a:avLst/>
          </a:prstGeom>
        </p:spPr>
        <p:txBody>
          <a:bodyPr/>
          <a:lstStyle>
            <a:lvl1pPr marL="0" inden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de-DE"/>
              <a:t>Textmasterformat bearbeiten</a:t>
            </a:r>
          </a:p>
        </p:txBody>
      </p:sp>
      <p:sp>
        <p:nvSpPr>
          <p:cNvPr id="19" name="Bildplatzhalter 18"/>
          <p:cNvSpPr>
            <a:spLocks noGrp="1"/>
          </p:cNvSpPr>
          <p:nvPr>
            <p:ph type="pic" sz="quarter" idx="17" hasCustomPrompt="1"/>
          </p:nvPr>
        </p:nvSpPr>
        <p:spPr bwMode="gray">
          <a:xfrm>
            <a:off x="1209617" y="1407958"/>
            <a:ext cx="4876800" cy="3600"/>
          </a:xfrm>
          <a:prstGeom prst="rect">
            <a:avLst/>
          </a:prstGeom>
          <a:solidFill>
            <a:schemeClr val="tx1"/>
          </a:solidFill>
          <a:ln>
            <a:solidFill>
              <a:schemeClr val="tx1"/>
            </a:solidFill>
            <a:miter lim="800000"/>
          </a:ln>
        </p:spPr>
        <p:txBody>
          <a:bodyPr anchor="ctr"/>
          <a:lstStyle>
            <a:lvl1pPr marL="0" indent="0">
              <a:buNone/>
              <a:defRPr sz="100" baseline="0"/>
            </a:lvl1pPr>
          </a:lstStyle>
          <a:p>
            <a:r>
              <a:rPr lang="en-GB"/>
              <a:t> </a:t>
            </a:r>
          </a:p>
        </p:txBody>
      </p:sp>
      <p:sp>
        <p:nvSpPr>
          <p:cNvPr id="9" name="Bildplatzhalter 18"/>
          <p:cNvSpPr>
            <a:spLocks noGrp="1"/>
          </p:cNvSpPr>
          <p:nvPr>
            <p:ph type="pic" sz="quarter" idx="18" hasCustomPrompt="1"/>
          </p:nvPr>
        </p:nvSpPr>
        <p:spPr bwMode="gray">
          <a:xfrm>
            <a:off x="1209617" y="3357563"/>
            <a:ext cx="4876800" cy="3600"/>
          </a:xfrm>
          <a:prstGeom prst="rect">
            <a:avLst/>
          </a:prstGeom>
          <a:solidFill>
            <a:schemeClr val="tx1"/>
          </a:solidFill>
          <a:ln>
            <a:solidFill>
              <a:schemeClr val="tx1"/>
            </a:solidFill>
            <a:miter lim="800000"/>
          </a:ln>
        </p:spPr>
        <p:txBody>
          <a:bodyPr anchor="ctr"/>
          <a:lstStyle>
            <a:lvl1pPr marL="0" indent="0">
              <a:buNone/>
              <a:defRPr sz="100"/>
            </a:lvl1pPr>
          </a:lstStyle>
          <a:p>
            <a:r>
              <a:rPr lang="en-GB"/>
              <a:t> </a:t>
            </a:r>
          </a:p>
        </p:txBody>
      </p:sp>
    </p:spTree>
    <p:extLst>
      <p:ext uri="{BB962C8B-B14F-4D97-AF65-F5344CB8AC3E}">
        <p14:creationId xmlns:p14="http://schemas.microsoft.com/office/powerpoint/2010/main" val="2875387"/>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ontakt auf weiß">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227" y="260562"/>
            <a:ext cx="10465453" cy="1152159"/>
          </a:xfrm>
          <a:prstGeom prst="rect">
            <a:avLst/>
          </a:prstGeom>
        </p:spPr>
        <p:txBody>
          <a:bodyPr/>
          <a:lstStyle/>
          <a:p>
            <a:r>
              <a:rPr lang="de-DE"/>
              <a:t>Titelmasterformat durch Klicken bearbeiten</a:t>
            </a:r>
          </a:p>
        </p:txBody>
      </p:sp>
      <p:sp>
        <p:nvSpPr>
          <p:cNvPr id="3" name="Datumsplatzhalter 2"/>
          <p:cNvSpPr>
            <a:spLocks noGrp="1"/>
          </p:cNvSpPr>
          <p:nvPr>
            <p:ph type="dt" sz="half" idx="10"/>
          </p:nvPr>
        </p:nvSpPr>
        <p:spPr bwMode="gray"/>
        <p:txBody>
          <a:bodyPr/>
          <a:lstStyle/>
          <a:p>
            <a:r>
              <a:rPr lang="de-DE">
                <a:solidFill>
                  <a:srgbClr val="001155"/>
                </a:solidFill>
              </a:rPr>
              <a:t>02.05.2016</a:t>
            </a:r>
          </a:p>
        </p:txBody>
      </p:sp>
      <p:sp>
        <p:nvSpPr>
          <p:cNvPr id="4" name="Foliennummernplatzhalter 3"/>
          <p:cNvSpPr>
            <a:spLocks noGrp="1"/>
          </p:cNvSpPr>
          <p:nvPr>
            <p:ph type="sldNum" sz="quarter" idx="11"/>
          </p:nvPr>
        </p:nvSpPr>
        <p:spPr bwMode="gray"/>
        <p:txBody>
          <a:bodyPr/>
          <a:lstStyle/>
          <a:p>
            <a:fld id="{F4152B43-0D93-45A1-BE43-5405A99BCA7F}" type="slidenum">
              <a:rPr lang="de-DE" smtClean="0">
                <a:solidFill>
                  <a:srgbClr val="001155"/>
                </a:solidFill>
              </a:rPr>
              <a:pPr/>
              <a:t>‹#›</a:t>
            </a:fld>
            <a:endParaRPr lang="de-DE">
              <a:solidFill>
                <a:srgbClr val="001155"/>
              </a:solidFill>
            </a:endParaRPr>
          </a:p>
        </p:txBody>
      </p:sp>
      <p:sp>
        <p:nvSpPr>
          <p:cNvPr id="5" name="Fußzeilenplatzhalter 4"/>
          <p:cNvSpPr>
            <a:spLocks noGrp="1"/>
          </p:cNvSpPr>
          <p:nvPr>
            <p:ph type="ftr" sz="quarter" idx="12"/>
          </p:nvPr>
        </p:nvSpPr>
        <p:spPr bwMode="gray"/>
        <p:txBody>
          <a:bodyPr/>
          <a:lstStyle/>
          <a:p>
            <a:r>
              <a:rPr lang="de-CH">
                <a:solidFill>
                  <a:srgbClr val="001155"/>
                </a:solidFill>
              </a:rPr>
              <a:t>DCS Produkt in S-Stack und SAM-Stack</a:t>
            </a:r>
            <a:endParaRPr lang="de-DE">
              <a:solidFill>
                <a:srgbClr val="001155"/>
              </a:solidFill>
            </a:endParaRPr>
          </a:p>
        </p:txBody>
      </p:sp>
      <p:sp>
        <p:nvSpPr>
          <p:cNvPr id="7" name="Textplatzhalter 6"/>
          <p:cNvSpPr>
            <a:spLocks noGrp="1"/>
          </p:cNvSpPr>
          <p:nvPr>
            <p:ph type="body" sz="quarter" idx="13"/>
          </p:nvPr>
        </p:nvSpPr>
        <p:spPr bwMode="gray">
          <a:xfrm>
            <a:off x="1200152" y="1773238"/>
            <a:ext cx="4895849" cy="4392612"/>
          </a:xfrm>
          <a:prstGeom prst="rect">
            <a:avLst/>
          </a:prstGeom>
        </p:spPr>
        <p:txBody>
          <a:bodyPr/>
          <a:lstStyle>
            <a:lvl1pPr marL="0" indent="0">
              <a:spcAft>
                <a:spcPts val="600"/>
              </a:spcAft>
              <a:buNone/>
              <a:defRPr sz="1200"/>
            </a:lvl1pPr>
            <a:lvl2pPr marL="0" indent="0">
              <a:buNone/>
              <a:defRPr sz="1200"/>
            </a:lvl2pPr>
            <a:lvl3pPr marL="0" indent="0">
              <a:buNone/>
              <a:defRPr sz="1200" u="sng"/>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4141285450"/>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Kontakt auf blau">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el 1"/>
          <p:cNvSpPr>
            <a:spLocks noGrp="1"/>
          </p:cNvSpPr>
          <p:nvPr>
            <p:ph type="title"/>
          </p:nvPr>
        </p:nvSpPr>
        <p:spPr bwMode="gray">
          <a:xfrm>
            <a:off x="527051" y="260351"/>
            <a:ext cx="10464800" cy="1152525"/>
          </a:xfrm>
          <a:prstGeom prst="rect">
            <a:avLst/>
          </a:prstGeom>
        </p:spPr>
        <p:txBody>
          <a:bodyPr/>
          <a:lstStyle>
            <a:lvl1pPr>
              <a:defRPr>
                <a:solidFill>
                  <a:schemeClr val="bg1"/>
                </a:solidFill>
              </a:defRPr>
            </a:lvl1pPr>
          </a:lstStyle>
          <a:p>
            <a:r>
              <a:rPr lang="de-DE"/>
              <a:t>Titelmasterformat durch Klicken bearbeiten</a:t>
            </a:r>
          </a:p>
        </p:txBody>
      </p:sp>
      <p:sp>
        <p:nvSpPr>
          <p:cNvPr id="3" name="Datumsplatzhalter 2"/>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4" name="Foliennummernplatzhalter 3"/>
          <p:cNvSpPr>
            <a:spLocks noGrp="1"/>
          </p:cNvSpPr>
          <p:nvPr>
            <p:ph type="sldNum" sz="quarter" idx="11"/>
          </p:nvPr>
        </p:nvSpPr>
        <p:spPr bwMode="gray"/>
        <p:txBody>
          <a:bodyPr/>
          <a:lstStyle>
            <a:lvl1pPr>
              <a:defRPr>
                <a:solidFill>
                  <a:schemeClr val="bg1"/>
                </a:solidFill>
              </a:defRPr>
            </a:lvl1pPr>
          </a:lstStyle>
          <a:p>
            <a:fld id="{F4152B43-0D93-45A1-BE43-5405A99BCA7F}" type="slidenum">
              <a:rPr lang="de-DE" smtClean="0">
                <a:solidFill>
                  <a:prstClr val="white"/>
                </a:solidFill>
              </a:rPr>
              <a:pPr/>
              <a:t>‹#›</a:t>
            </a:fld>
            <a:endParaRPr lang="de-DE">
              <a:solidFill>
                <a:prstClr val="white"/>
              </a:solidFill>
            </a:endParaRPr>
          </a:p>
        </p:txBody>
      </p:sp>
      <p:sp>
        <p:nvSpPr>
          <p:cNvPr id="5" name="Fußzeilenplatzhalter 4"/>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7" name="Textplatzhalter 6"/>
          <p:cNvSpPr>
            <a:spLocks noGrp="1"/>
          </p:cNvSpPr>
          <p:nvPr>
            <p:ph type="body" sz="quarter" idx="13"/>
          </p:nvPr>
        </p:nvSpPr>
        <p:spPr bwMode="gray">
          <a:xfrm>
            <a:off x="1200152" y="1773238"/>
            <a:ext cx="4895849" cy="4392612"/>
          </a:xfrm>
          <a:prstGeom prst="rect">
            <a:avLst/>
          </a:prstGeom>
        </p:spPr>
        <p:txBody>
          <a:bodyPr/>
          <a:lstStyle>
            <a:lvl1pPr marL="0" indent="0">
              <a:spcAft>
                <a:spcPts val="600"/>
              </a:spcAft>
              <a:buNone/>
              <a:defRPr sz="1200">
                <a:solidFill>
                  <a:schemeClr val="bg1"/>
                </a:solidFill>
              </a:defRPr>
            </a:lvl1pPr>
            <a:lvl2pPr marL="0" indent="0">
              <a:buNone/>
              <a:defRPr sz="1200">
                <a:solidFill>
                  <a:schemeClr val="bg1"/>
                </a:solidFill>
              </a:defRPr>
            </a:lvl2pPr>
            <a:lvl3pPr marL="0" indent="0">
              <a:buNone/>
              <a:defRPr sz="1200" u="sng">
                <a:solidFill>
                  <a:schemeClr val="bg1"/>
                </a:solidFill>
              </a:defRPr>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de-DE"/>
              <a:t>Textmasterformat bearbeiten</a:t>
            </a:r>
          </a:p>
          <a:p>
            <a:pPr lvl="1"/>
            <a:r>
              <a:rPr lang="de-DE"/>
              <a:t>Zweite Ebene</a:t>
            </a:r>
          </a:p>
          <a:p>
            <a:pPr lvl="2"/>
            <a:r>
              <a:rPr lang="de-DE"/>
              <a:t>Dritte Ebene</a:t>
            </a:r>
          </a:p>
        </p:txBody>
      </p:sp>
      <p:sp>
        <p:nvSpPr>
          <p:cNvPr id="9"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4142424409"/>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noProof="0"/>
              <a:t>Titelmasterformat durch Klicken bearbeiten</a:t>
            </a:r>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noProof="0"/>
              <a:t>Formatvorlage des Untertitelmasters durch Klicken bearbeiten</a:t>
            </a:r>
          </a:p>
        </p:txBody>
      </p:sp>
    </p:spTree>
    <p:extLst>
      <p:ext uri="{BB962C8B-B14F-4D97-AF65-F5344CB8AC3E}">
        <p14:creationId xmlns:p14="http://schemas.microsoft.com/office/powerpoint/2010/main" val="20306778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ADA0F702-B273-45BA-B7F3-9EFAFA12B97D}" type="datetime1">
              <a:rPr lang="de-DE" smtClean="0">
                <a:solidFill>
                  <a:srgbClr val="001155"/>
                </a:solidFill>
              </a:rPr>
              <a:pPr>
                <a:defRPr/>
              </a:pPr>
              <a:t>21.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D08217F8-D86A-45A2-8C1C-FA18F320AFE8}"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5683062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fld id="{F862743B-7990-49FF-A91D-0024DEAF61F0}" type="datetime1">
              <a:rPr lang="de-DE" smtClean="0">
                <a:solidFill>
                  <a:srgbClr val="001155"/>
                </a:solidFill>
              </a:rPr>
              <a:pPr>
                <a:defRPr/>
              </a:pPr>
              <a:t>21.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B55782BB-B23A-4D49-8F00-8DD27325E86E}"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42900340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Datumsplatzhalter 2"/>
          <p:cNvSpPr>
            <a:spLocks noGrp="1"/>
          </p:cNvSpPr>
          <p:nvPr>
            <p:ph type="dt" sz="half" idx="10"/>
          </p:nvPr>
        </p:nvSpPr>
        <p:spPr/>
        <p:txBody>
          <a:bodyPr/>
          <a:lstStyle/>
          <a:p>
            <a:pPr>
              <a:defRPr/>
            </a:pPr>
            <a:fld id="{2633148D-D705-49A6-84A3-BAD08DE50FE5}" type="datetime1">
              <a:rPr lang="de-DE" smtClean="0">
                <a:solidFill>
                  <a:srgbClr val="001155"/>
                </a:solidFill>
              </a:rPr>
              <a:pPr>
                <a:defRPr/>
              </a:pPr>
              <a:t>21.03.2024</a:t>
            </a:fld>
            <a:endParaRPr lang="en-GB">
              <a:solidFill>
                <a:srgbClr val="001155"/>
              </a:solidFill>
            </a:endParaRPr>
          </a:p>
        </p:txBody>
      </p:sp>
      <p:sp>
        <p:nvSpPr>
          <p:cNvPr id="4" name="Foliennummernplatzhalter 3"/>
          <p:cNvSpPr>
            <a:spLocks noGrp="1"/>
          </p:cNvSpPr>
          <p:nvPr>
            <p:ph type="sldNum" sz="quarter" idx="11"/>
          </p:nvPr>
        </p:nvSpPr>
        <p:spPr/>
        <p:txBody>
          <a:bodyPr/>
          <a:lstStyle/>
          <a:p>
            <a:pPr>
              <a:defRPr/>
            </a:pPr>
            <a:fld id="{66CCBED9-E6FE-4EA0-9069-28C2A5EF93F0}" type="slidenum">
              <a:rPr lang="en-GB" smtClean="0">
                <a:solidFill>
                  <a:srgbClr val="001155"/>
                </a:solidFill>
              </a:rPr>
              <a:pPr>
                <a:defRPr/>
              </a:pPr>
              <a:t>‹#›</a:t>
            </a:fld>
            <a:endParaRPr lang="en-GB">
              <a:solidFill>
                <a:srgbClr val="001155"/>
              </a:solidFill>
            </a:endParaRPr>
          </a:p>
        </p:txBody>
      </p:sp>
      <p:sp>
        <p:nvSpPr>
          <p:cNvPr id="5" name="Fußzeilenplatzhalter 4"/>
          <p:cNvSpPr>
            <a:spLocks noGrp="1"/>
          </p:cNvSpPr>
          <p:nvPr>
            <p:ph type="ftr" sz="quarter" idx="12"/>
          </p:nvPr>
        </p:nvSpPr>
        <p:spPr/>
        <p:txBody>
          <a:body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1854365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fld id="{E87E6794-69ED-40E4-B0D2-8962ABBEE52E}" type="datetime1">
              <a:rPr lang="de-DE" smtClean="0">
                <a:solidFill>
                  <a:srgbClr val="001155"/>
                </a:solidFill>
              </a:rPr>
              <a:pPr>
                <a:defRPr/>
              </a:pPr>
              <a:t>21.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02DA455E-EB6E-4703-B493-ACD6F48CAF39}"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241548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10"/>
          <p:cNvGrpSpPr>
            <a:grpSpLocks noChangeAspect="1"/>
          </p:cNvGrpSpPr>
          <p:nvPr userDrawn="1"/>
        </p:nvGrpSpPr>
        <p:grpSpPr bwMode="auto">
          <a:xfrm>
            <a:off x="-9950" y="4677851"/>
            <a:ext cx="11014499" cy="1901375"/>
            <a:chOff x="-18109" y="-2668"/>
            <a:chExt cx="41974" cy="9661"/>
          </a:xfrm>
          <a:solidFill>
            <a:schemeClr val="tx1">
              <a:alpha val="29000"/>
            </a:schemeClr>
          </a:solidFill>
        </p:grpSpPr>
        <p:sp>
          <p:nvSpPr>
            <p:cNvPr id="8" name="Freeform 11"/>
            <p:cNvSpPr>
              <a:spLocks/>
            </p:cNvSpPr>
            <p:nvPr/>
          </p:nvSpPr>
          <p:spPr bwMode="auto">
            <a:xfrm>
              <a:off x="-3747" y="4936"/>
              <a:ext cx="626" cy="1383"/>
            </a:xfrm>
            <a:custGeom>
              <a:avLst/>
              <a:gdLst>
                <a:gd name="T0" fmla="*/ 149 w 626"/>
                <a:gd name="T1" fmla="*/ 1383 h 1383"/>
                <a:gd name="T2" fmla="*/ 149 w 626"/>
                <a:gd name="T3" fmla="*/ 1052 h 1383"/>
                <a:gd name="T4" fmla="*/ 229 w 626"/>
                <a:gd name="T5" fmla="*/ 1052 h 1383"/>
                <a:gd name="T6" fmla="*/ 229 w 626"/>
                <a:gd name="T7" fmla="*/ 664 h 1383"/>
                <a:gd name="T8" fmla="*/ 123 w 626"/>
                <a:gd name="T9" fmla="*/ 664 h 1383"/>
                <a:gd name="T10" fmla="*/ 123 w 626"/>
                <a:gd name="T11" fmla="*/ 371 h 1383"/>
                <a:gd name="T12" fmla="*/ 0 w 626"/>
                <a:gd name="T13" fmla="*/ 371 h 1383"/>
                <a:gd name="T14" fmla="*/ 229 w 626"/>
                <a:gd name="T15" fmla="*/ 160 h 1383"/>
                <a:gd name="T16" fmla="*/ 229 w 626"/>
                <a:gd name="T17" fmla="*/ 0 h 1383"/>
                <a:gd name="T18" fmla="*/ 385 w 626"/>
                <a:gd name="T19" fmla="*/ 0 h 1383"/>
                <a:gd name="T20" fmla="*/ 385 w 626"/>
                <a:gd name="T21" fmla="*/ 203 h 1383"/>
                <a:gd name="T22" fmla="*/ 465 w 626"/>
                <a:gd name="T23" fmla="*/ 274 h 1383"/>
                <a:gd name="T24" fmla="*/ 465 w 626"/>
                <a:gd name="T25" fmla="*/ 482 h 1383"/>
                <a:gd name="T26" fmla="*/ 626 w 626"/>
                <a:gd name="T27" fmla="*/ 503 h 1383"/>
                <a:gd name="T28" fmla="*/ 595 w 626"/>
                <a:gd name="T29" fmla="*/ 617 h 1383"/>
                <a:gd name="T30" fmla="*/ 465 w 626"/>
                <a:gd name="T31" fmla="*/ 692 h 1383"/>
                <a:gd name="T32" fmla="*/ 465 w 626"/>
                <a:gd name="T33" fmla="*/ 1056 h 1383"/>
                <a:gd name="T34" fmla="*/ 574 w 626"/>
                <a:gd name="T35" fmla="*/ 1052 h 1383"/>
                <a:gd name="T36" fmla="*/ 574 w 626"/>
                <a:gd name="T37" fmla="*/ 1383 h 1383"/>
                <a:gd name="T38" fmla="*/ 149 w 626"/>
                <a:gd name="T39" fmla="*/ 1383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6" h="1383">
                  <a:moveTo>
                    <a:pt x="149" y="1383"/>
                  </a:moveTo>
                  <a:lnTo>
                    <a:pt x="149" y="1052"/>
                  </a:lnTo>
                  <a:lnTo>
                    <a:pt x="229" y="1052"/>
                  </a:lnTo>
                  <a:lnTo>
                    <a:pt x="229" y="664"/>
                  </a:lnTo>
                  <a:lnTo>
                    <a:pt x="123" y="664"/>
                  </a:lnTo>
                  <a:lnTo>
                    <a:pt x="123" y="371"/>
                  </a:lnTo>
                  <a:lnTo>
                    <a:pt x="0" y="371"/>
                  </a:lnTo>
                  <a:lnTo>
                    <a:pt x="229" y="160"/>
                  </a:lnTo>
                  <a:lnTo>
                    <a:pt x="229" y="0"/>
                  </a:lnTo>
                  <a:lnTo>
                    <a:pt x="385" y="0"/>
                  </a:lnTo>
                  <a:lnTo>
                    <a:pt x="385" y="203"/>
                  </a:lnTo>
                  <a:lnTo>
                    <a:pt x="465" y="274"/>
                  </a:lnTo>
                  <a:lnTo>
                    <a:pt x="465" y="482"/>
                  </a:lnTo>
                  <a:lnTo>
                    <a:pt x="626" y="503"/>
                  </a:lnTo>
                  <a:lnTo>
                    <a:pt x="595" y="617"/>
                  </a:lnTo>
                  <a:lnTo>
                    <a:pt x="465" y="692"/>
                  </a:lnTo>
                  <a:lnTo>
                    <a:pt x="465" y="1056"/>
                  </a:lnTo>
                  <a:lnTo>
                    <a:pt x="574" y="1052"/>
                  </a:lnTo>
                  <a:lnTo>
                    <a:pt x="574" y="1383"/>
                  </a:lnTo>
                  <a:lnTo>
                    <a:pt x="149" y="1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de-DE" sz="1800">
                <a:solidFill>
                  <a:srgbClr val="001155"/>
                </a:solidFill>
              </a:endParaRPr>
            </a:p>
          </p:txBody>
        </p:sp>
        <p:sp>
          <p:nvSpPr>
            <p:cNvPr id="9" name="Rectangle 12"/>
            <p:cNvSpPr>
              <a:spLocks noChangeArrowheads="1"/>
            </p:cNvSpPr>
            <p:nvPr/>
          </p:nvSpPr>
          <p:spPr bwMode="auto">
            <a:xfrm>
              <a:off x="-628" y="-2668"/>
              <a:ext cx="85" cy="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1800">
                <a:solidFill>
                  <a:srgbClr val="001155"/>
                </a:solidFill>
              </a:endParaRPr>
            </a:p>
          </p:txBody>
        </p:sp>
        <p:sp>
          <p:nvSpPr>
            <p:cNvPr id="10" name="Rectangle 13"/>
            <p:cNvSpPr>
              <a:spLocks noChangeArrowheads="1"/>
            </p:cNvSpPr>
            <p:nvPr/>
          </p:nvSpPr>
          <p:spPr bwMode="auto">
            <a:xfrm>
              <a:off x="2067" y="-2663"/>
              <a:ext cx="85" cy="7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1800">
                <a:solidFill>
                  <a:srgbClr val="001155"/>
                </a:solidFill>
              </a:endParaRPr>
            </a:p>
          </p:txBody>
        </p:sp>
        <p:sp>
          <p:nvSpPr>
            <p:cNvPr id="11" name="Freeform 14"/>
            <p:cNvSpPr>
              <a:spLocks noEditPoints="1"/>
            </p:cNvSpPr>
            <p:nvPr/>
          </p:nvSpPr>
          <p:spPr bwMode="auto">
            <a:xfrm>
              <a:off x="-18109" y="-2065"/>
              <a:ext cx="41974" cy="9058"/>
            </a:xfrm>
            <a:custGeom>
              <a:avLst/>
              <a:gdLst>
                <a:gd name="T0" fmla="*/ 17047 w 17766"/>
                <a:gd name="T1" fmla="*/ 2902 h 3831"/>
                <a:gd name="T2" fmla="*/ 16779 w 17766"/>
                <a:gd name="T3" fmla="*/ 2752 h 3831"/>
                <a:gd name="T4" fmla="*/ 15890 w 17766"/>
                <a:gd name="T5" fmla="*/ 3227 h 3831"/>
                <a:gd name="T6" fmla="*/ 15733 w 17766"/>
                <a:gd name="T7" fmla="*/ 2939 h 3831"/>
                <a:gd name="T8" fmla="*/ 15029 w 17766"/>
                <a:gd name="T9" fmla="*/ 2963 h 3831"/>
                <a:gd name="T10" fmla="*/ 14436 w 17766"/>
                <a:gd name="T11" fmla="*/ 1243 h 3831"/>
                <a:gd name="T12" fmla="*/ 13194 w 17766"/>
                <a:gd name="T13" fmla="*/ 2613 h 3831"/>
                <a:gd name="T14" fmla="*/ 12928 w 17766"/>
                <a:gd name="T15" fmla="*/ 243 h 3831"/>
                <a:gd name="T16" fmla="*/ 12426 w 17766"/>
                <a:gd name="T17" fmla="*/ 2273 h 3831"/>
                <a:gd name="T18" fmla="*/ 11923 w 17766"/>
                <a:gd name="T19" fmla="*/ 3499 h 3831"/>
                <a:gd name="T20" fmla="*/ 11779 w 17766"/>
                <a:gd name="T21" fmla="*/ 2787 h 3831"/>
                <a:gd name="T22" fmla="*/ 11733 w 17766"/>
                <a:gd name="T23" fmla="*/ 2587 h 3831"/>
                <a:gd name="T24" fmla="*/ 11620 w 17766"/>
                <a:gd name="T25" fmla="*/ 2661 h 3831"/>
                <a:gd name="T26" fmla="*/ 11671 w 17766"/>
                <a:gd name="T27" fmla="*/ 3499 h 3831"/>
                <a:gd name="T28" fmla="*/ 11366 w 17766"/>
                <a:gd name="T29" fmla="*/ 2787 h 3831"/>
                <a:gd name="T30" fmla="*/ 11322 w 17766"/>
                <a:gd name="T31" fmla="*/ 2584 h 3831"/>
                <a:gd name="T32" fmla="*/ 11213 w 17766"/>
                <a:gd name="T33" fmla="*/ 2661 h 3831"/>
                <a:gd name="T34" fmla="*/ 11256 w 17766"/>
                <a:gd name="T35" fmla="*/ 3499 h 3831"/>
                <a:gd name="T36" fmla="*/ 10789 w 17766"/>
                <a:gd name="T37" fmla="*/ 2072 h 3831"/>
                <a:gd name="T38" fmla="*/ 10354 w 17766"/>
                <a:gd name="T39" fmla="*/ 2072 h 3831"/>
                <a:gd name="T40" fmla="*/ 9178 w 17766"/>
                <a:gd name="T41" fmla="*/ 675 h 3831"/>
                <a:gd name="T42" fmla="*/ 8856 w 17766"/>
                <a:gd name="T43" fmla="*/ 2085 h 3831"/>
                <a:gd name="T44" fmla="*/ 8756 w 17766"/>
                <a:gd name="T45" fmla="*/ 531 h 3831"/>
                <a:gd name="T46" fmla="*/ 8344 w 17766"/>
                <a:gd name="T47" fmla="*/ 1077 h 3831"/>
                <a:gd name="T48" fmla="*/ 7722 w 17766"/>
                <a:gd name="T49" fmla="*/ 2273 h 3831"/>
                <a:gd name="T50" fmla="*/ 7620 w 17766"/>
                <a:gd name="T51" fmla="*/ 560 h 3831"/>
                <a:gd name="T52" fmla="*/ 7218 w 17766"/>
                <a:gd name="T53" fmla="*/ 1077 h 3831"/>
                <a:gd name="T54" fmla="*/ 6997 w 17766"/>
                <a:gd name="T55" fmla="*/ 2725 h 3831"/>
                <a:gd name="T56" fmla="*/ 6715 w 17766"/>
                <a:gd name="T57" fmla="*/ 2193 h 3831"/>
                <a:gd name="T58" fmla="*/ 6503 w 17766"/>
                <a:gd name="T59" fmla="*/ 2297 h 3831"/>
                <a:gd name="T60" fmla="*/ 6376 w 17766"/>
                <a:gd name="T61" fmla="*/ 2101 h 3831"/>
                <a:gd name="T62" fmla="*/ 6165 w 17766"/>
                <a:gd name="T63" fmla="*/ 2101 h 3831"/>
                <a:gd name="T64" fmla="*/ 5898 w 17766"/>
                <a:gd name="T65" fmla="*/ 2192 h 3831"/>
                <a:gd name="T66" fmla="*/ 5816 w 17766"/>
                <a:gd name="T67" fmla="*/ 2190 h 3831"/>
                <a:gd name="T68" fmla="*/ 5720 w 17766"/>
                <a:gd name="T69" fmla="*/ 2549 h 3831"/>
                <a:gd name="T70" fmla="*/ 5380 w 17766"/>
                <a:gd name="T71" fmla="*/ 1389 h 3831"/>
                <a:gd name="T72" fmla="*/ 5046 w 17766"/>
                <a:gd name="T73" fmla="*/ 1630 h 3831"/>
                <a:gd name="T74" fmla="*/ 4272 w 17766"/>
                <a:gd name="T75" fmla="*/ 2273 h 3831"/>
                <a:gd name="T76" fmla="*/ 3438 w 17766"/>
                <a:gd name="T77" fmla="*/ 2725 h 3831"/>
                <a:gd name="T78" fmla="*/ 3347 w 17766"/>
                <a:gd name="T79" fmla="*/ 3082 h 3831"/>
                <a:gd name="T80" fmla="*/ 2895 w 17766"/>
                <a:gd name="T81" fmla="*/ 2725 h 3831"/>
                <a:gd name="T82" fmla="*/ 2895 w 17766"/>
                <a:gd name="T83" fmla="*/ 1832 h 3831"/>
                <a:gd name="T84" fmla="*/ 2382 w 17766"/>
                <a:gd name="T85" fmla="*/ 1630 h 3831"/>
                <a:gd name="T86" fmla="*/ 2382 w 17766"/>
                <a:gd name="T87" fmla="*/ 2273 h 3831"/>
                <a:gd name="T88" fmla="*/ 1936 w 17766"/>
                <a:gd name="T89" fmla="*/ 2273 h 3831"/>
                <a:gd name="T90" fmla="*/ 661 w 17766"/>
                <a:gd name="T91" fmla="*/ 3073 h 3831"/>
                <a:gd name="T92" fmla="*/ 523 w 17766"/>
                <a:gd name="T93" fmla="*/ 3174 h 3831"/>
                <a:gd name="T94" fmla="*/ 0 w 17766"/>
                <a:gd name="T95" fmla="*/ 3831 h 3831"/>
                <a:gd name="T96" fmla="*/ 17305 w 17766"/>
                <a:gd name="T97" fmla="*/ 3626 h 3831"/>
                <a:gd name="T98" fmla="*/ 5954 w 17766"/>
                <a:gd name="T99" fmla="*/ 2990 h 3831"/>
                <a:gd name="T100" fmla="*/ 6477 w 17766"/>
                <a:gd name="T101" fmla="*/ 3499 h 3831"/>
                <a:gd name="T102" fmla="*/ 12932 w 17766"/>
                <a:gd name="T103" fmla="*/ 1554 h 3831"/>
                <a:gd name="T104" fmla="*/ 14731 w 17766"/>
                <a:gd name="T105" fmla="*/ 1722 h 3831"/>
                <a:gd name="T106" fmla="*/ 14946 w 17766"/>
                <a:gd name="T107" fmla="*/ 1507 h 3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66" h="3831">
                  <a:moveTo>
                    <a:pt x="17305" y="3626"/>
                  </a:moveTo>
                  <a:cubicBezTo>
                    <a:pt x="17305" y="2902"/>
                    <a:pt x="17305" y="2902"/>
                    <a:pt x="17305" y="2902"/>
                  </a:cubicBezTo>
                  <a:cubicBezTo>
                    <a:pt x="17047" y="2902"/>
                    <a:pt x="17047" y="2902"/>
                    <a:pt x="17047" y="2902"/>
                  </a:cubicBezTo>
                  <a:cubicBezTo>
                    <a:pt x="17047" y="3029"/>
                    <a:pt x="17047" y="3029"/>
                    <a:pt x="17047" y="3029"/>
                  </a:cubicBezTo>
                  <a:cubicBezTo>
                    <a:pt x="16779" y="3029"/>
                    <a:pt x="16779" y="3029"/>
                    <a:pt x="16779" y="3029"/>
                  </a:cubicBezTo>
                  <a:cubicBezTo>
                    <a:pt x="16779" y="2752"/>
                    <a:pt x="16779" y="2752"/>
                    <a:pt x="16779" y="2752"/>
                  </a:cubicBezTo>
                  <a:cubicBezTo>
                    <a:pt x="16290" y="2752"/>
                    <a:pt x="16290" y="2752"/>
                    <a:pt x="16290" y="2752"/>
                  </a:cubicBezTo>
                  <a:cubicBezTo>
                    <a:pt x="16290" y="3227"/>
                    <a:pt x="16290" y="3227"/>
                    <a:pt x="16290" y="3227"/>
                  </a:cubicBezTo>
                  <a:cubicBezTo>
                    <a:pt x="15890" y="3227"/>
                    <a:pt x="15890" y="3227"/>
                    <a:pt x="15890" y="3227"/>
                  </a:cubicBezTo>
                  <a:cubicBezTo>
                    <a:pt x="15890" y="3499"/>
                    <a:pt x="15890" y="3499"/>
                    <a:pt x="15890" y="3499"/>
                  </a:cubicBezTo>
                  <a:cubicBezTo>
                    <a:pt x="15733" y="3499"/>
                    <a:pt x="15733" y="3499"/>
                    <a:pt x="15733" y="3499"/>
                  </a:cubicBezTo>
                  <a:cubicBezTo>
                    <a:pt x="15733" y="2939"/>
                    <a:pt x="15733" y="2939"/>
                    <a:pt x="15733" y="2939"/>
                  </a:cubicBezTo>
                  <a:cubicBezTo>
                    <a:pt x="15572" y="2787"/>
                    <a:pt x="15572" y="2787"/>
                    <a:pt x="15572" y="2787"/>
                  </a:cubicBezTo>
                  <a:cubicBezTo>
                    <a:pt x="15165" y="2963"/>
                    <a:pt x="15165" y="2963"/>
                    <a:pt x="15165" y="2963"/>
                  </a:cubicBezTo>
                  <a:cubicBezTo>
                    <a:pt x="15029" y="2963"/>
                    <a:pt x="15029" y="2963"/>
                    <a:pt x="15029" y="2963"/>
                  </a:cubicBezTo>
                  <a:cubicBezTo>
                    <a:pt x="15029" y="1229"/>
                    <a:pt x="15029" y="1229"/>
                    <a:pt x="15029" y="1229"/>
                  </a:cubicBezTo>
                  <a:cubicBezTo>
                    <a:pt x="14944" y="857"/>
                    <a:pt x="14731" y="0"/>
                    <a:pt x="14731" y="0"/>
                  </a:cubicBezTo>
                  <a:cubicBezTo>
                    <a:pt x="14436" y="1243"/>
                    <a:pt x="14436" y="1243"/>
                    <a:pt x="14436" y="1243"/>
                  </a:cubicBezTo>
                  <a:cubicBezTo>
                    <a:pt x="14436" y="2273"/>
                    <a:pt x="14436" y="2273"/>
                    <a:pt x="14436" y="2273"/>
                  </a:cubicBezTo>
                  <a:cubicBezTo>
                    <a:pt x="13240" y="2273"/>
                    <a:pt x="13240" y="2273"/>
                    <a:pt x="13240" y="2273"/>
                  </a:cubicBezTo>
                  <a:cubicBezTo>
                    <a:pt x="13194" y="2613"/>
                    <a:pt x="13194" y="2613"/>
                    <a:pt x="13194" y="2613"/>
                  </a:cubicBezTo>
                  <a:cubicBezTo>
                    <a:pt x="13119" y="2613"/>
                    <a:pt x="13119" y="2613"/>
                    <a:pt x="13119" y="2613"/>
                  </a:cubicBezTo>
                  <a:cubicBezTo>
                    <a:pt x="13119" y="1363"/>
                    <a:pt x="13119" y="1363"/>
                    <a:pt x="13119" y="1363"/>
                  </a:cubicBezTo>
                  <a:cubicBezTo>
                    <a:pt x="13090" y="1200"/>
                    <a:pt x="12928" y="243"/>
                    <a:pt x="12928" y="243"/>
                  </a:cubicBezTo>
                  <a:cubicBezTo>
                    <a:pt x="12739" y="1367"/>
                    <a:pt x="12739" y="1367"/>
                    <a:pt x="12739" y="1367"/>
                  </a:cubicBezTo>
                  <a:cubicBezTo>
                    <a:pt x="12739" y="2273"/>
                    <a:pt x="12739" y="2273"/>
                    <a:pt x="12739" y="2273"/>
                  </a:cubicBezTo>
                  <a:cubicBezTo>
                    <a:pt x="12426" y="2273"/>
                    <a:pt x="12426" y="2273"/>
                    <a:pt x="12426" y="2273"/>
                  </a:cubicBezTo>
                  <a:cubicBezTo>
                    <a:pt x="12315" y="2156"/>
                    <a:pt x="12315" y="2156"/>
                    <a:pt x="12315" y="2156"/>
                  </a:cubicBezTo>
                  <a:cubicBezTo>
                    <a:pt x="11923" y="2575"/>
                    <a:pt x="11923" y="2575"/>
                    <a:pt x="11923" y="2575"/>
                  </a:cubicBezTo>
                  <a:cubicBezTo>
                    <a:pt x="11923" y="3499"/>
                    <a:pt x="11923" y="3499"/>
                    <a:pt x="11923" y="3499"/>
                  </a:cubicBezTo>
                  <a:cubicBezTo>
                    <a:pt x="11724" y="3499"/>
                    <a:pt x="11724" y="3499"/>
                    <a:pt x="11724" y="3499"/>
                  </a:cubicBezTo>
                  <a:cubicBezTo>
                    <a:pt x="11724" y="2787"/>
                    <a:pt x="11724" y="2787"/>
                    <a:pt x="11724" y="2787"/>
                  </a:cubicBezTo>
                  <a:cubicBezTo>
                    <a:pt x="11779" y="2787"/>
                    <a:pt x="11779" y="2787"/>
                    <a:pt x="11779" y="2787"/>
                  </a:cubicBezTo>
                  <a:cubicBezTo>
                    <a:pt x="11779" y="2661"/>
                    <a:pt x="11779" y="2661"/>
                    <a:pt x="11779" y="2661"/>
                  </a:cubicBezTo>
                  <a:cubicBezTo>
                    <a:pt x="11733" y="2661"/>
                    <a:pt x="11733" y="2661"/>
                    <a:pt x="11733" y="2661"/>
                  </a:cubicBezTo>
                  <a:cubicBezTo>
                    <a:pt x="11733" y="2587"/>
                    <a:pt x="11733" y="2587"/>
                    <a:pt x="11733" y="2587"/>
                  </a:cubicBezTo>
                  <a:cubicBezTo>
                    <a:pt x="11671" y="2587"/>
                    <a:pt x="11671" y="2587"/>
                    <a:pt x="11671" y="2587"/>
                  </a:cubicBezTo>
                  <a:cubicBezTo>
                    <a:pt x="11671" y="2661"/>
                    <a:pt x="11671" y="2661"/>
                    <a:pt x="11671" y="2661"/>
                  </a:cubicBezTo>
                  <a:cubicBezTo>
                    <a:pt x="11620" y="2661"/>
                    <a:pt x="11620" y="2661"/>
                    <a:pt x="11620" y="2661"/>
                  </a:cubicBezTo>
                  <a:cubicBezTo>
                    <a:pt x="11620" y="2787"/>
                    <a:pt x="11620" y="2787"/>
                    <a:pt x="11620" y="2787"/>
                  </a:cubicBezTo>
                  <a:cubicBezTo>
                    <a:pt x="11671" y="2787"/>
                    <a:pt x="11671" y="2787"/>
                    <a:pt x="11671" y="2787"/>
                  </a:cubicBezTo>
                  <a:cubicBezTo>
                    <a:pt x="11671" y="3499"/>
                    <a:pt x="11671" y="3499"/>
                    <a:pt x="11671" y="3499"/>
                  </a:cubicBezTo>
                  <a:cubicBezTo>
                    <a:pt x="11319" y="3499"/>
                    <a:pt x="11319" y="3499"/>
                    <a:pt x="11319" y="3499"/>
                  </a:cubicBezTo>
                  <a:cubicBezTo>
                    <a:pt x="11319" y="2787"/>
                    <a:pt x="11319" y="2787"/>
                    <a:pt x="11319" y="2787"/>
                  </a:cubicBezTo>
                  <a:cubicBezTo>
                    <a:pt x="11366" y="2787"/>
                    <a:pt x="11366" y="2787"/>
                    <a:pt x="11366" y="2787"/>
                  </a:cubicBezTo>
                  <a:cubicBezTo>
                    <a:pt x="11366" y="2661"/>
                    <a:pt x="11366" y="2661"/>
                    <a:pt x="11366" y="2661"/>
                  </a:cubicBezTo>
                  <a:cubicBezTo>
                    <a:pt x="11322" y="2661"/>
                    <a:pt x="11322" y="2661"/>
                    <a:pt x="11322" y="2661"/>
                  </a:cubicBezTo>
                  <a:cubicBezTo>
                    <a:pt x="11322" y="2584"/>
                    <a:pt x="11322" y="2584"/>
                    <a:pt x="11322" y="2584"/>
                  </a:cubicBezTo>
                  <a:cubicBezTo>
                    <a:pt x="11269" y="2584"/>
                    <a:pt x="11269" y="2584"/>
                    <a:pt x="11269" y="2584"/>
                  </a:cubicBezTo>
                  <a:cubicBezTo>
                    <a:pt x="11269" y="2661"/>
                    <a:pt x="11269" y="2661"/>
                    <a:pt x="11269" y="2661"/>
                  </a:cubicBezTo>
                  <a:cubicBezTo>
                    <a:pt x="11213" y="2661"/>
                    <a:pt x="11213" y="2661"/>
                    <a:pt x="11213" y="2661"/>
                  </a:cubicBezTo>
                  <a:cubicBezTo>
                    <a:pt x="11213" y="2789"/>
                    <a:pt x="11213" y="2789"/>
                    <a:pt x="11213" y="2789"/>
                  </a:cubicBezTo>
                  <a:cubicBezTo>
                    <a:pt x="11256" y="2789"/>
                    <a:pt x="11256" y="2789"/>
                    <a:pt x="11256" y="2789"/>
                  </a:cubicBezTo>
                  <a:cubicBezTo>
                    <a:pt x="11256" y="3499"/>
                    <a:pt x="11256" y="3499"/>
                    <a:pt x="11256" y="3499"/>
                  </a:cubicBezTo>
                  <a:cubicBezTo>
                    <a:pt x="11088" y="3499"/>
                    <a:pt x="11088" y="3499"/>
                    <a:pt x="11088" y="3499"/>
                  </a:cubicBezTo>
                  <a:cubicBezTo>
                    <a:pt x="11088" y="2480"/>
                    <a:pt x="11088" y="2480"/>
                    <a:pt x="11088" y="2480"/>
                  </a:cubicBezTo>
                  <a:cubicBezTo>
                    <a:pt x="10789" y="2072"/>
                    <a:pt x="10789" y="2072"/>
                    <a:pt x="10789" y="2072"/>
                  </a:cubicBezTo>
                  <a:cubicBezTo>
                    <a:pt x="10426" y="2072"/>
                    <a:pt x="10426" y="2072"/>
                    <a:pt x="10426" y="2072"/>
                  </a:cubicBezTo>
                  <a:cubicBezTo>
                    <a:pt x="10384" y="1429"/>
                    <a:pt x="10384" y="1429"/>
                    <a:pt x="10384" y="1429"/>
                  </a:cubicBezTo>
                  <a:cubicBezTo>
                    <a:pt x="10354" y="2072"/>
                    <a:pt x="10354" y="2072"/>
                    <a:pt x="10354" y="2072"/>
                  </a:cubicBezTo>
                  <a:cubicBezTo>
                    <a:pt x="9250" y="2072"/>
                    <a:pt x="9250" y="2072"/>
                    <a:pt x="9250" y="2072"/>
                  </a:cubicBezTo>
                  <a:cubicBezTo>
                    <a:pt x="9250" y="1832"/>
                    <a:pt x="9250" y="1832"/>
                    <a:pt x="9250" y="1832"/>
                  </a:cubicBezTo>
                  <a:cubicBezTo>
                    <a:pt x="9178" y="675"/>
                    <a:pt x="9178" y="675"/>
                    <a:pt x="9178" y="675"/>
                  </a:cubicBezTo>
                  <a:cubicBezTo>
                    <a:pt x="9104" y="1832"/>
                    <a:pt x="9104" y="1832"/>
                    <a:pt x="9104" y="1832"/>
                  </a:cubicBezTo>
                  <a:cubicBezTo>
                    <a:pt x="9104" y="2085"/>
                    <a:pt x="9104" y="2085"/>
                    <a:pt x="9104" y="2085"/>
                  </a:cubicBezTo>
                  <a:cubicBezTo>
                    <a:pt x="8856" y="2085"/>
                    <a:pt x="8856" y="2085"/>
                    <a:pt x="8856" y="2085"/>
                  </a:cubicBezTo>
                  <a:cubicBezTo>
                    <a:pt x="8856" y="1077"/>
                    <a:pt x="8856" y="1077"/>
                    <a:pt x="8856" y="1077"/>
                  </a:cubicBezTo>
                  <a:cubicBezTo>
                    <a:pt x="8756" y="1077"/>
                    <a:pt x="8756" y="1077"/>
                    <a:pt x="8756" y="1077"/>
                  </a:cubicBezTo>
                  <a:cubicBezTo>
                    <a:pt x="8756" y="531"/>
                    <a:pt x="8756" y="531"/>
                    <a:pt x="8756" y="531"/>
                  </a:cubicBezTo>
                  <a:cubicBezTo>
                    <a:pt x="8756" y="531"/>
                    <a:pt x="8756" y="123"/>
                    <a:pt x="8560" y="123"/>
                  </a:cubicBezTo>
                  <a:cubicBezTo>
                    <a:pt x="8364" y="123"/>
                    <a:pt x="8344" y="541"/>
                    <a:pt x="8344" y="541"/>
                  </a:cubicBezTo>
                  <a:cubicBezTo>
                    <a:pt x="8344" y="1077"/>
                    <a:pt x="8344" y="1077"/>
                    <a:pt x="8344" y="1077"/>
                  </a:cubicBezTo>
                  <a:cubicBezTo>
                    <a:pt x="8243" y="1077"/>
                    <a:pt x="8243" y="1077"/>
                    <a:pt x="8243" y="1077"/>
                  </a:cubicBezTo>
                  <a:cubicBezTo>
                    <a:pt x="8243" y="2273"/>
                    <a:pt x="8243" y="2273"/>
                    <a:pt x="8243" y="2273"/>
                  </a:cubicBezTo>
                  <a:cubicBezTo>
                    <a:pt x="7722" y="2273"/>
                    <a:pt x="7722" y="2273"/>
                    <a:pt x="7722" y="2273"/>
                  </a:cubicBezTo>
                  <a:cubicBezTo>
                    <a:pt x="7722" y="1077"/>
                    <a:pt x="7722" y="1077"/>
                    <a:pt x="7722" y="1077"/>
                  </a:cubicBezTo>
                  <a:cubicBezTo>
                    <a:pt x="7620" y="1077"/>
                    <a:pt x="7620" y="1077"/>
                    <a:pt x="7620" y="1077"/>
                  </a:cubicBezTo>
                  <a:cubicBezTo>
                    <a:pt x="7620" y="560"/>
                    <a:pt x="7620" y="560"/>
                    <a:pt x="7620" y="560"/>
                  </a:cubicBezTo>
                  <a:cubicBezTo>
                    <a:pt x="7620" y="560"/>
                    <a:pt x="7620" y="123"/>
                    <a:pt x="7419" y="123"/>
                  </a:cubicBezTo>
                  <a:cubicBezTo>
                    <a:pt x="7218" y="123"/>
                    <a:pt x="7218" y="557"/>
                    <a:pt x="7218" y="557"/>
                  </a:cubicBezTo>
                  <a:cubicBezTo>
                    <a:pt x="7218" y="1077"/>
                    <a:pt x="7218" y="1077"/>
                    <a:pt x="7218" y="1077"/>
                  </a:cubicBezTo>
                  <a:cubicBezTo>
                    <a:pt x="7107" y="1077"/>
                    <a:pt x="7107" y="1077"/>
                    <a:pt x="7107" y="1077"/>
                  </a:cubicBezTo>
                  <a:cubicBezTo>
                    <a:pt x="7107" y="2725"/>
                    <a:pt x="7107" y="2725"/>
                    <a:pt x="7107" y="2725"/>
                  </a:cubicBezTo>
                  <a:cubicBezTo>
                    <a:pt x="6997" y="2725"/>
                    <a:pt x="6997" y="2725"/>
                    <a:pt x="6997" y="2725"/>
                  </a:cubicBezTo>
                  <a:cubicBezTo>
                    <a:pt x="6997" y="2533"/>
                    <a:pt x="6997" y="2533"/>
                    <a:pt x="6997" y="2533"/>
                  </a:cubicBezTo>
                  <a:cubicBezTo>
                    <a:pt x="6715" y="2533"/>
                    <a:pt x="6715" y="2533"/>
                    <a:pt x="6715" y="2533"/>
                  </a:cubicBezTo>
                  <a:cubicBezTo>
                    <a:pt x="6715" y="2193"/>
                    <a:pt x="6715" y="2193"/>
                    <a:pt x="6715" y="2193"/>
                  </a:cubicBezTo>
                  <a:cubicBezTo>
                    <a:pt x="6592" y="2193"/>
                    <a:pt x="6592" y="2193"/>
                    <a:pt x="6592" y="2193"/>
                  </a:cubicBezTo>
                  <a:cubicBezTo>
                    <a:pt x="6592" y="2297"/>
                    <a:pt x="6592" y="2297"/>
                    <a:pt x="6592" y="2297"/>
                  </a:cubicBezTo>
                  <a:cubicBezTo>
                    <a:pt x="6503" y="2297"/>
                    <a:pt x="6503" y="2297"/>
                    <a:pt x="6503" y="2297"/>
                  </a:cubicBezTo>
                  <a:cubicBezTo>
                    <a:pt x="6503" y="2196"/>
                    <a:pt x="6503" y="2196"/>
                    <a:pt x="6503" y="2196"/>
                  </a:cubicBezTo>
                  <a:cubicBezTo>
                    <a:pt x="6376" y="2196"/>
                    <a:pt x="6376" y="2196"/>
                    <a:pt x="6376" y="2196"/>
                  </a:cubicBezTo>
                  <a:cubicBezTo>
                    <a:pt x="6376" y="2101"/>
                    <a:pt x="6376" y="2101"/>
                    <a:pt x="6376" y="2101"/>
                  </a:cubicBezTo>
                  <a:cubicBezTo>
                    <a:pt x="6270" y="2101"/>
                    <a:pt x="6270" y="2101"/>
                    <a:pt x="6270" y="2101"/>
                  </a:cubicBezTo>
                  <a:cubicBezTo>
                    <a:pt x="6213" y="1983"/>
                    <a:pt x="6213" y="1983"/>
                    <a:pt x="6213" y="1983"/>
                  </a:cubicBezTo>
                  <a:cubicBezTo>
                    <a:pt x="6165" y="2101"/>
                    <a:pt x="6165" y="2101"/>
                    <a:pt x="6165" y="2101"/>
                  </a:cubicBezTo>
                  <a:cubicBezTo>
                    <a:pt x="6063" y="2101"/>
                    <a:pt x="6063" y="2101"/>
                    <a:pt x="6063" y="2101"/>
                  </a:cubicBezTo>
                  <a:cubicBezTo>
                    <a:pt x="6063" y="2192"/>
                    <a:pt x="6063" y="2192"/>
                    <a:pt x="6063" y="2192"/>
                  </a:cubicBezTo>
                  <a:cubicBezTo>
                    <a:pt x="5898" y="2192"/>
                    <a:pt x="5898" y="2192"/>
                    <a:pt x="5898" y="2192"/>
                  </a:cubicBezTo>
                  <a:cubicBezTo>
                    <a:pt x="5898" y="2293"/>
                    <a:pt x="5898" y="2293"/>
                    <a:pt x="5898" y="2293"/>
                  </a:cubicBezTo>
                  <a:cubicBezTo>
                    <a:pt x="5816" y="2293"/>
                    <a:pt x="5816" y="2293"/>
                    <a:pt x="5816" y="2293"/>
                  </a:cubicBezTo>
                  <a:cubicBezTo>
                    <a:pt x="5816" y="2190"/>
                    <a:pt x="5816" y="2190"/>
                    <a:pt x="5816" y="2190"/>
                  </a:cubicBezTo>
                  <a:cubicBezTo>
                    <a:pt x="5720" y="2190"/>
                    <a:pt x="5720" y="2190"/>
                    <a:pt x="5720" y="2190"/>
                  </a:cubicBezTo>
                  <a:cubicBezTo>
                    <a:pt x="5720" y="2273"/>
                    <a:pt x="5720" y="2273"/>
                    <a:pt x="5720" y="2273"/>
                  </a:cubicBezTo>
                  <a:cubicBezTo>
                    <a:pt x="5720" y="2549"/>
                    <a:pt x="5720" y="2549"/>
                    <a:pt x="5720" y="2549"/>
                  </a:cubicBezTo>
                  <a:cubicBezTo>
                    <a:pt x="5599" y="2549"/>
                    <a:pt x="5599" y="2549"/>
                    <a:pt x="5599" y="2549"/>
                  </a:cubicBezTo>
                  <a:cubicBezTo>
                    <a:pt x="5599" y="1630"/>
                    <a:pt x="5599" y="1630"/>
                    <a:pt x="5599" y="1630"/>
                  </a:cubicBezTo>
                  <a:cubicBezTo>
                    <a:pt x="5380" y="1389"/>
                    <a:pt x="5380" y="1389"/>
                    <a:pt x="5380" y="1389"/>
                  </a:cubicBezTo>
                  <a:cubicBezTo>
                    <a:pt x="5333" y="850"/>
                    <a:pt x="5333" y="850"/>
                    <a:pt x="5333" y="850"/>
                  </a:cubicBezTo>
                  <a:cubicBezTo>
                    <a:pt x="5296" y="1383"/>
                    <a:pt x="5296" y="1383"/>
                    <a:pt x="5296" y="1383"/>
                  </a:cubicBezTo>
                  <a:cubicBezTo>
                    <a:pt x="5046" y="1630"/>
                    <a:pt x="5046" y="1630"/>
                    <a:pt x="5046" y="1630"/>
                  </a:cubicBezTo>
                  <a:cubicBezTo>
                    <a:pt x="5046" y="2273"/>
                    <a:pt x="5046" y="2273"/>
                    <a:pt x="5046" y="2273"/>
                  </a:cubicBezTo>
                  <a:cubicBezTo>
                    <a:pt x="5046" y="2273"/>
                    <a:pt x="5046" y="2725"/>
                    <a:pt x="4659" y="2725"/>
                  </a:cubicBezTo>
                  <a:cubicBezTo>
                    <a:pt x="4272" y="2725"/>
                    <a:pt x="4272" y="2273"/>
                    <a:pt x="4272" y="2273"/>
                  </a:cubicBezTo>
                  <a:cubicBezTo>
                    <a:pt x="3589" y="2273"/>
                    <a:pt x="3589" y="2273"/>
                    <a:pt x="3589" y="2273"/>
                  </a:cubicBezTo>
                  <a:cubicBezTo>
                    <a:pt x="3589" y="2725"/>
                    <a:pt x="3589" y="2725"/>
                    <a:pt x="3589" y="2725"/>
                  </a:cubicBezTo>
                  <a:cubicBezTo>
                    <a:pt x="3438" y="2725"/>
                    <a:pt x="3438" y="2725"/>
                    <a:pt x="3438" y="2725"/>
                  </a:cubicBezTo>
                  <a:cubicBezTo>
                    <a:pt x="3438" y="3499"/>
                    <a:pt x="3438" y="3499"/>
                    <a:pt x="3438" y="3499"/>
                  </a:cubicBezTo>
                  <a:cubicBezTo>
                    <a:pt x="3347" y="3499"/>
                    <a:pt x="3347" y="3499"/>
                    <a:pt x="3347" y="3499"/>
                  </a:cubicBezTo>
                  <a:cubicBezTo>
                    <a:pt x="3347" y="3082"/>
                    <a:pt x="3347" y="3082"/>
                    <a:pt x="3347" y="3082"/>
                  </a:cubicBezTo>
                  <a:cubicBezTo>
                    <a:pt x="3156" y="3082"/>
                    <a:pt x="3156" y="3082"/>
                    <a:pt x="3156" y="3082"/>
                  </a:cubicBezTo>
                  <a:cubicBezTo>
                    <a:pt x="3156" y="2894"/>
                    <a:pt x="3156" y="2894"/>
                    <a:pt x="3156" y="2894"/>
                  </a:cubicBezTo>
                  <a:cubicBezTo>
                    <a:pt x="2895" y="2725"/>
                    <a:pt x="2895" y="2725"/>
                    <a:pt x="2895" y="2725"/>
                  </a:cubicBezTo>
                  <a:cubicBezTo>
                    <a:pt x="2895" y="2273"/>
                    <a:pt x="2895" y="2273"/>
                    <a:pt x="2895" y="2273"/>
                  </a:cubicBezTo>
                  <a:cubicBezTo>
                    <a:pt x="2895" y="2273"/>
                    <a:pt x="2960" y="2229"/>
                    <a:pt x="2960" y="2072"/>
                  </a:cubicBezTo>
                  <a:cubicBezTo>
                    <a:pt x="2960" y="1915"/>
                    <a:pt x="2895" y="1832"/>
                    <a:pt x="2895" y="1832"/>
                  </a:cubicBezTo>
                  <a:cubicBezTo>
                    <a:pt x="2895" y="1630"/>
                    <a:pt x="2895" y="1630"/>
                    <a:pt x="2895" y="1630"/>
                  </a:cubicBezTo>
                  <a:cubicBezTo>
                    <a:pt x="2895" y="1630"/>
                    <a:pt x="2828" y="1481"/>
                    <a:pt x="2634" y="1481"/>
                  </a:cubicBezTo>
                  <a:cubicBezTo>
                    <a:pt x="2440" y="1481"/>
                    <a:pt x="2382" y="1630"/>
                    <a:pt x="2382" y="1630"/>
                  </a:cubicBezTo>
                  <a:cubicBezTo>
                    <a:pt x="2382" y="1832"/>
                    <a:pt x="2382" y="1832"/>
                    <a:pt x="2382" y="1832"/>
                  </a:cubicBezTo>
                  <a:cubicBezTo>
                    <a:pt x="2382" y="1832"/>
                    <a:pt x="2320" y="1931"/>
                    <a:pt x="2320" y="2072"/>
                  </a:cubicBezTo>
                  <a:cubicBezTo>
                    <a:pt x="2320" y="2213"/>
                    <a:pt x="2382" y="2273"/>
                    <a:pt x="2382" y="2273"/>
                  </a:cubicBezTo>
                  <a:cubicBezTo>
                    <a:pt x="2382" y="2725"/>
                    <a:pt x="2382" y="2725"/>
                    <a:pt x="2382" y="2725"/>
                  </a:cubicBezTo>
                  <a:cubicBezTo>
                    <a:pt x="2219" y="2725"/>
                    <a:pt x="2219" y="2725"/>
                    <a:pt x="2219" y="2725"/>
                  </a:cubicBezTo>
                  <a:cubicBezTo>
                    <a:pt x="2219" y="2725"/>
                    <a:pt x="2194" y="2273"/>
                    <a:pt x="1936" y="2273"/>
                  </a:cubicBezTo>
                  <a:cubicBezTo>
                    <a:pt x="1677" y="2273"/>
                    <a:pt x="1635" y="2725"/>
                    <a:pt x="1635" y="2725"/>
                  </a:cubicBezTo>
                  <a:cubicBezTo>
                    <a:pt x="955" y="2725"/>
                    <a:pt x="955" y="2725"/>
                    <a:pt x="955" y="2725"/>
                  </a:cubicBezTo>
                  <a:cubicBezTo>
                    <a:pt x="661" y="3073"/>
                    <a:pt x="661" y="3073"/>
                    <a:pt x="661" y="3073"/>
                  </a:cubicBezTo>
                  <a:cubicBezTo>
                    <a:pt x="618" y="2273"/>
                    <a:pt x="618" y="2273"/>
                    <a:pt x="618" y="2273"/>
                  </a:cubicBezTo>
                  <a:cubicBezTo>
                    <a:pt x="578" y="3073"/>
                    <a:pt x="578" y="3073"/>
                    <a:pt x="578" y="3073"/>
                  </a:cubicBezTo>
                  <a:cubicBezTo>
                    <a:pt x="523" y="3174"/>
                    <a:pt x="523" y="3174"/>
                    <a:pt x="523" y="3174"/>
                  </a:cubicBezTo>
                  <a:cubicBezTo>
                    <a:pt x="523" y="3499"/>
                    <a:pt x="523" y="3499"/>
                    <a:pt x="523" y="3499"/>
                  </a:cubicBezTo>
                  <a:cubicBezTo>
                    <a:pt x="0" y="3499"/>
                    <a:pt x="0" y="3499"/>
                    <a:pt x="0" y="3499"/>
                  </a:cubicBezTo>
                  <a:cubicBezTo>
                    <a:pt x="0" y="3831"/>
                    <a:pt x="0" y="3831"/>
                    <a:pt x="0" y="3831"/>
                  </a:cubicBezTo>
                  <a:cubicBezTo>
                    <a:pt x="17766" y="3831"/>
                    <a:pt x="17766" y="3831"/>
                    <a:pt x="17766" y="3831"/>
                  </a:cubicBezTo>
                  <a:cubicBezTo>
                    <a:pt x="17766" y="3626"/>
                    <a:pt x="17766" y="3626"/>
                    <a:pt x="17766" y="3626"/>
                  </a:cubicBezTo>
                  <a:lnTo>
                    <a:pt x="17305" y="3626"/>
                  </a:lnTo>
                  <a:close/>
                  <a:moveTo>
                    <a:pt x="6477" y="3499"/>
                  </a:moveTo>
                  <a:cubicBezTo>
                    <a:pt x="5954" y="3499"/>
                    <a:pt x="5954" y="3499"/>
                    <a:pt x="5954" y="3499"/>
                  </a:cubicBezTo>
                  <a:cubicBezTo>
                    <a:pt x="5954" y="2990"/>
                    <a:pt x="5954" y="2990"/>
                    <a:pt x="5954" y="2990"/>
                  </a:cubicBezTo>
                  <a:cubicBezTo>
                    <a:pt x="5954" y="2990"/>
                    <a:pt x="5958" y="2787"/>
                    <a:pt x="6213" y="2787"/>
                  </a:cubicBezTo>
                  <a:cubicBezTo>
                    <a:pt x="6467" y="2787"/>
                    <a:pt x="6477" y="2993"/>
                    <a:pt x="6477" y="2993"/>
                  </a:cubicBezTo>
                  <a:lnTo>
                    <a:pt x="6477" y="3499"/>
                  </a:lnTo>
                  <a:close/>
                  <a:moveTo>
                    <a:pt x="12932" y="1831"/>
                  </a:moveTo>
                  <a:cubicBezTo>
                    <a:pt x="12855" y="1831"/>
                    <a:pt x="12793" y="1769"/>
                    <a:pt x="12793" y="1693"/>
                  </a:cubicBezTo>
                  <a:cubicBezTo>
                    <a:pt x="12793" y="1616"/>
                    <a:pt x="12855" y="1554"/>
                    <a:pt x="12932" y="1554"/>
                  </a:cubicBezTo>
                  <a:cubicBezTo>
                    <a:pt x="13008" y="1554"/>
                    <a:pt x="13070" y="1616"/>
                    <a:pt x="13070" y="1693"/>
                  </a:cubicBezTo>
                  <a:cubicBezTo>
                    <a:pt x="13070" y="1769"/>
                    <a:pt x="13008" y="1831"/>
                    <a:pt x="12932" y="1831"/>
                  </a:cubicBezTo>
                  <a:close/>
                  <a:moveTo>
                    <a:pt x="14731" y="1722"/>
                  </a:moveTo>
                  <a:cubicBezTo>
                    <a:pt x="14613" y="1722"/>
                    <a:pt x="14517" y="1626"/>
                    <a:pt x="14517" y="1507"/>
                  </a:cubicBezTo>
                  <a:cubicBezTo>
                    <a:pt x="14517" y="1389"/>
                    <a:pt x="14613" y="1293"/>
                    <a:pt x="14731" y="1293"/>
                  </a:cubicBezTo>
                  <a:cubicBezTo>
                    <a:pt x="14850" y="1293"/>
                    <a:pt x="14946" y="1389"/>
                    <a:pt x="14946" y="1507"/>
                  </a:cubicBezTo>
                  <a:cubicBezTo>
                    <a:pt x="14946" y="1626"/>
                    <a:pt x="14850" y="1722"/>
                    <a:pt x="14731" y="17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de-DE" sz="1800">
                <a:solidFill>
                  <a:srgbClr val="001155"/>
                </a:solidFill>
              </a:endParaRPr>
            </a:p>
          </p:txBody>
        </p:sp>
      </p:grpSp>
    </p:spTree>
    <p:extLst>
      <p:ext uri="{BB962C8B-B14F-4D97-AF65-F5344CB8AC3E}">
        <p14:creationId xmlns:p14="http://schemas.microsoft.com/office/powerpoint/2010/main" val="4292291519"/>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fld id="{74A2E80F-0B4B-4A01-B381-C19EE3C9EB6C}" type="datetime1">
              <a:rPr lang="de-DE" smtClean="0">
                <a:solidFill>
                  <a:srgbClr val="001155"/>
                </a:solidFill>
              </a:rPr>
              <a:pPr>
                <a:defRPr/>
              </a:pPr>
              <a:t>21.03.2024</a:t>
            </a:fld>
            <a:endParaRPr lang="en-GB">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pPr>
              <a:defRPr/>
            </a:pPr>
            <a:fld id="{B16167CD-ACF3-44E5-96F7-CBD0F02174FE}" type="slidenum">
              <a:rPr lang="en-GB">
                <a:solidFill>
                  <a:srgbClr val="001155"/>
                </a:solidFill>
              </a:rPr>
              <a:pPr>
                <a:defRPr/>
              </a:pPr>
              <a:t>‹#›</a:t>
            </a:fld>
            <a:endParaRPr lang="en-GB">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579559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fld id="{71626A88-0AAE-4996-854B-829518FBA3B0}" type="datetime1">
              <a:rPr lang="de-DE" smtClean="0">
                <a:solidFill>
                  <a:srgbClr val="001155"/>
                </a:solidFill>
              </a:rPr>
              <a:pPr>
                <a:defRPr/>
              </a:pPr>
              <a:t>21.03.2024</a:t>
            </a:fld>
            <a:endParaRPr lang="en-GB">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5300AEB5-48D3-407A-87AD-5CBD2B7059AD}" type="slidenum">
              <a:rPr lang="en-GB">
                <a:solidFill>
                  <a:srgbClr val="001155"/>
                </a:solidFill>
              </a:rPr>
              <a:pPr>
                <a:defRPr/>
              </a:pPr>
              <a:t>‹#›</a:t>
            </a:fld>
            <a:endParaRPr lang="en-GB">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2645695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FE7041C2-87DA-4D44-92B1-64F7CE0A3F3F}" type="datetime1">
              <a:rPr lang="de-DE" smtClean="0">
                <a:solidFill>
                  <a:srgbClr val="001155"/>
                </a:solidFill>
              </a:rPr>
              <a:pPr>
                <a:defRPr/>
              </a:pPr>
              <a:t>21.03.2024</a:t>
            </a:fld>
            <a:endParaRPr lang="en-GB">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pPr>
              <a:defRPr/>
            </a:pPr>
            <a:fld id="{0E9A411B-1D2B-4180-A34A-996B547F93F3}" type="slidenum">
              <a:rPr lang="en-GB">
                <a:solidFill>
                  <a:srgbClr val="001155"/>
                </a:solidFill>
              </a:rPr>
              <a:pPr>
                <a:defRPr/>
              </a:pPr>
              <a:t>‹#›</a:t>
            </a:fld>
            <a:endParaRPr lang="en-GB">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308624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fld id="{4A58AE75-3CC9-4FF6-818E-43066B0C0BC5}" type="datetime1">
              <a:rPr lang="de-DE" smtClean="0">
                <a:solidFill>
                  <a:srgbClr val="001155"/>
                </a:solidFill>
              </a:rPr>
              <a:pPr>
                <a:defRPr/>
              </a:pPr>
              <a:t>21.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69B42E68-D785-4F74-9B1C-F917F3652562}"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9588559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fld id="{D9F578F1-2C57-4E5C-B960-FC9528F04357}" type="datetime1">
              <a:rPr lang="de-DE" smtClean="0">
                <a:solidFill>
                  <a:srgbClr val="001155"/>
                </a:solidFill>
              </a:rPr>
              <a:pPr>
                <a:defRPr/>
              </a:pPr>
              <a:t>21.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7901F4B1-3470-4B5B-9143-12D43DF35AE1}"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1269725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6298098E-9D9F-408E-8949-EDCFA445432B}" type="datetime1">
              <a:rPr lang="de-DE" smtClean="0">
                <a:solidFill>
                  <a:srgbClr val="001155"/>
                </a:solidFill>
              </a:rPr>
              <a:pPr>
                <a:defRPr/>
              </a:pPr>
              <a:t>21.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8F5A5102-5240-4FB8-88A8-0F5B9D2E1A41}"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5425472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B3B768F9-B1EE-4C2A-BA46-9ADE6056022A}" type="datetime1">
              <a:rPr lang="de-DE" smtClean="0">
                <a:solidFill>
                  <a:srgbClr val="001155"/>
                </a:solidFill>
              </a:rPr>
              <a:pPr>
                <a:defRPr/>
              </a:pPr>
              <a:t>21.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676F5544-C5AF-40AA-8075-D989F0F346A6}"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5425299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el, Text und Inhalt">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527051" y="269875"/>
            <a:ext cx="10464800" cy="1098550"/>
          </a:xfrm>
        </p:spPr>
        <p:txBody>
          <a:bodyPr/>
          <a:lstStyle/>
          <a:p>
            <a:r>
              <a:rPr lang="de-DE"/>
              <a:t>Titelmasterformat durch Klicken bearbeiten</a:t>
            </a:r>
            <a:endParaRPr lang="de-CH"/>
          </a:p>
        </p:txBody>
      </p:sp>
      <p:sp>
        <p:nvSpPr>
          <p:cNvPr id="3" name="Textplatzhalter 2"/>
          <p:cNvSpPr>
            <a:spLocks noGrp="1"/>
          </p:cNvSpPr>
          <p:nvPr>
            <p:ph type="body" sz="half" idx="1"/>
          </p:nvPr>
        </p:nvSpPr>
        <p:spPr>
          <a:xfrm>
            <a:off x="1221317" y="1771651"/>
            <a:ext cx="4783667" cy="4354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fld id="{9DA3E1EA-63C6-4617-AFEB-6D65F2FB883E}" type="datetime1">
              <a:rPr lang="de-DE" smtClean="0">
                <a:solidFill>
                  <a:srgbClr val="001155"/>
                </a:solidFill>
              </a:rPr>
              <a:pPr>
                <a:defRPr/>
              </a:pPr>
              <a:t>21.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CF87B80F-341E-4867-AB52-AA4F4DBE4013}"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4372011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altLang="de-DE" noProof="0"/>
              <a:t>Titelmasterformat durch Klicken bearbeiten</a:t>
            </a:r>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altLang="de-DE" noProof="0"/>
              <a:t>Formatvorlage des Untertitelmasters durch Klicken bearbeiten</a:t>
            </a:r>
          </a:p>
        </p:txBody>
      </p:sp>
    </p:spTree>
    <p:extLst>
      <p:ext uri="{BB962C8B-B14F-4D97-AF65-F5344CB8AC3E}">
        <p14:creationId xmlns:p14="http://schemas.microsoft.com/office/powerpoint/2010/main" val="40920995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2ED65D3E-9830-4CE2-A92C-D2DE49FD23B3}"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258926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17"/>
          <p:cNvSpPr>
            <a:spLocks/>
          </p:cNvSpPr>
          <p:nvPr userDrawn="1"/>
        </p:nvSpPr>
        <p:spPr bwMode="auto">
          <a:xfrm>
            <a:off x="0" y="5002214"/>
            <a:ext cx="11059584" cy="1576387"/>
          </a:xfrm>
          <a:custGeom>
            <a:avLst/>
            <a:gdLst>
              <a:gd name="T0" fmla="*/ 2147483647 w 2880"/>
              <a:gd name="T1" fmla="*/ 2147483647 h 545"/>
              <a:gd name="T2" fmla="*/ 2147483647 w 2880"/>
              <a:gd name="T3" fmla="*/ 2147483647 h 545"/>
              <a:gd name="T4" fmla="*/ 2147483647 w 2880"/>
              <a:gd name="T5" fmla="*/ 2147483647 h 545"/>
              <a:gd name="T6" fmla="*/ 2147483647 w 2880"/>
              <a:gd name="T7" fmla="*/ 2147483647 h 545"/>
              <a:gd name="T8" fmla="*/ 0 w 2880"/>
              <a:gd name="T9" fmla="*/ 2147483647 h 545"/>
              <a:gd name="T10" fmla="*/ 2147483647 w 2880"/>
              <a:gd name="T11" fmla="*/ 2147483647 h 545"/>
              <a:gd name="T12" fmla="*/ 2147483647 w 2880"/>
              <a:gd name="T13" fmla="*/ 2147483647 h 545"/>
              <a:gd name="T14" fmla="*/ 2147483647 w 2880"/>
              <a:gd name="T15" fmla="*/ 2147483647 h 545"/>
              <a:gd name="T16" fmla="*/ 2147483647 w 2880"/>
              <a:gd name="T17" fmla="*/ 2147483647 h 545"/>
              <a:gd name="T18" fmla="*/ 2147483647 w 2880"/>
              <a:gd name="T19" fmla="*/ 2147483647 h 545"/>
              <a:gd name="T20" fmla="*/ 2147483647 w 2880"/>
              <a:gd name="T21" fmla="*/ 2147483647 h 545"/>
              <a:gd name="T22" fmla="*/ 2147483647 w 2880"/>
              <a:gd name="T23" fmla="*/ 2147483647 h 545"/>
              <a:gd name="T24" fmla="*/ 2147483647 w 2880"/>
              <a:gd name="T25" fmla="*/ 2147483647 h 545"/>
              <a:gd name="T26" fmla="*/ 2147483647 w 2880"/>
              <a:gd name="T27" fmla="*/ 2147483647 h 545"/>
              <a:gd name="T28" fmla="*/ 2147483647 w 2880"/>
              <a:gd name="T29" fmla="*/ 2147483647 h 545"/>
              <a:gd name="T30" fmla="*/ 2147483647 w 2880"/>
              <a:gd name="T31" fmla="*/ 2147483647 h 545"/>
              <a:gd name="T32" fmla="*/ 2147483647 w 2880"/>
              <a:gd name="T33" fmla="*/ 2147483647 h 545"/>
              <a:gd name="T34" fmla="*/ 2147483647 w 2880"/>
              <a:gd name="T35" fmla="*/ 2147483647 h 545"/>
              <a:gd name="T36" fmla="*/ 2147483647 w 2880"/>
              <a:gd name="T37" fmla="*/ 2147483647 h 545"/>
              <a:gd name="T38" fmla="*/ 2147483647 w 2880"/>
              <a:gd name="T39" fmla="*/ 2147483647 h 545"/>
              <a:gd name="T40" fmla="*/ 2147483647 w 2880"/>
              <a:gd name="T41" fmla="*/ 2147483647 h 545"/>
              <a:gd name="T42" fmla="*/ 2147483647 w 2880"/>
              <a:gd name="T43" fmla="*/ 2147483647 h 545"/>
              <a:gd name="T44" fmla="*/ 2147483647 w 2880"/>
              <a:gd name="T45" fmla="*/ 2147483647 h 545"/>
              <a:gd name="T46" fmla="*/ 2147483647 w 2880"/>
              <a:gd name="T47" fmla="*/ 2147483647 h 545"/>
              <a:gd name="T48" fmla="*/ 2147483647 w 2880"/>
              <a:gd name="T49" fmla="*/ 2147483647 h 545"/>
              <a:gd name="T50" fmla="*/ 2147483647 w 2880"/>
              <a:gd name="T51" fmla="*/ 2147483647 h 545"/>
              <a:gd name="T52" fmla="*/ 2147483647 w 2880"/>
              <a:gd name="T53" fmla="*/ 2147483647 h 545"/>
              <a:gd name="T54" fmla="*/ 2147483647 w 2880"/>
              <a:gd name="T55" fmla="*/ 2147483647 h 545"/>
              <a:gd name="T56" fmla="*/ 2147483647 w 2880"/>
              <a:gd name="T57" fmla="*/ 2147483647 h 545"/>
              <a:gd name="T58" fmla="*/ 2147483647 w 2880"/>
              <a:gd name="T59" fmla="*/ 2147483647 h 545"/>
              <a:gd name="T60" fmla="*/ 2147483647 w 2880"/>
              <a:gd name="T61" fmla="*/ 2147483647 h 545"/>
              <a:gd name="T62" fmla="*/ 2147483647 w 2880"/>
              <a:gd name="T63" fmla="*/ 2147483647 h 545"/>
              <a:gd name="T64" fmla="*/ 2147483647 w 2880"/>
              <a:gd name="T65" fmla="*/ 2147483647 h 545"/>
              <a:gd name="T66" fmla="*/ 2147483647 w 2880"/>
              <a:gd name="T67" fmla="*/ 2147483647 h 545"/>
              <a:gd name="T68" fmla="*/ 2147483647 w 2880"/>
              <a:gd name="T69" fmla="*/ 2147483647 h 545"/>
              <a:gd name="T70" fmla="*/ 2147483647 w 2880"/>
              <a:gd name="T71" fmla="*/ 2147483647 h 545"/>
              <a:gd name="T72" fmla="*/ 2147483647 w 2880"/>
              <a:gd name="T73" fmla="*/ 2147483647 h 545"/>
              <a:gd name="T74" fmla="*/ 2147483647 w 2880"/>
              <a:gd name="T75" fmla="*/ 2147483647 h 545"/>
              <a:gd name="T76" fmla="*/ 2147483647 w 2880"/>
              <a:gd name="T77" fmla="*/ 2147483647 h 545"/>
              <a:gd name="T78" fmla="*/ 2147483647 w 2880"/>
              <a:gd name="T79" fmla="*/ 2147483647 h 545"/>
              <a:gd name="T80" fmla="*/ 2147483647 w 2880"/>
              <a:gd name="T81" fmla="*/ 2147483647 h 545"/>
              <a:gd name="T82" fmla="*/ 2147483647 w 2880"/>
              <a:gd name="T83" fmla="*/ 2147483647 h 545"/>
              <a:gd name="T84" fmla="*/ 2147483647 w 2880"/>
              <a:gd name="T85" fmla="*/ 2147483647 h 545"/>
              <a:gd name="T86" fmla="*/ 2147483647 w 2880"/>
              <a:gd name="T87" fmla="*/ 2147483647 h 545"/>
              <a:gd name="T88" fmla="*/ 2147483647 w 2880"/>
              <a:gd name="T89" fmla="*/ 2147483647 h 545"/>
              <a:gd name="T90" fmla="*/ 2147483647 w 2880"/>
              <a:gd name="T91" fmla="*/ 2147483647 h 545"/>
              <a:gd name="T92" fmla="*/ 2147483647 w 2880"/>
              <a:gd name="T93" fmla="*/ 2147483647 h 545"/>
              <a:gd name="T94" fmla="*/ 2147483647 w 2880"/>
              <a:gd name="T95" fmla="*/ 2147483647 h 545"/>
              <a:gd name="T96" fmla="*/ 2147483647 w 2880"/>
              <a:gd name="T97" fmla="*/ 2147483647 h 545"/>
              <a:gd name="T98" fmla="*/ 2147483647 w 2880"/>
              <a:gd name="T99" fmla="*/ 2147483647 h 545"/>
              <a:gd name="T100" fmla="*/ 2147483647 w 2880"/>
              <a:gd name="T101" fmla="*/ 2147483647 h 545"/>
              <a:gd name="T102" fmla="*/ 2147483647 w 2880"/>
              <a:gd name="T103" fmla="*/ 2147483647 h 545"/>
              <a:gd name="T104" fmla="*/ 2147483647 w 2880"/>
              <a:gd name="T105" fmla="*/ 2147483647 h 545"/>
              <a:gd name="T106" fmla="*/ 2147483647 w 2880"/>
              <a:gd name="T107" fmla="*/ 2147483647 h 545"/>
              <a:gd name="T108" fmla="*/ 2147483647 w 2880"/>
              <a:gd name="T109" fmla="*/ 2147483647 h 545"/>
              <a:gd name="T110" fmla="*/ 2147483647 w 2880"/>
              <a:gd name="T111" fmla="*/ 2147483647 h 545"/>
              <a:gd name="T112" fmla="*/ 2147483647 w 2880"/>
              <a:gd name="T113" fmla="*/ 2147483647 h 545"/>
              <a:gd name="T114" fmla="*/ 2147483647 w 2880"/>
              <a:gd name="T115" fmla="*/ 2147483647 h 545"/>
              <a:gd name="T116" fmla="*/ 2147483647 w 2880"/>
              <a:gd name="T117" fmla="*/ 2147483647 h 54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80" h="545">
                <a:moveTo>
                  <a:pt x="2537" y="545"/>
                </a:moveTo>
                <a:cubicBezTo>
                  <a:pt x="1363" y="545"/>
                  <a:pt x="1363" y="545"/>
                  <a:pt x="1363" y="545"/>
                </a:cubicBezTo>
                <a:cubicBezTo>
                  <a:pt x="1363" y="527"/>
                  <a:pt x="1341" y="512"/>
                  <a:pt x="1314" y="512"/>
                </a:cubicBezTo>
                <a:cubicBezTo>
                  <a:pt x="1286" y="512"/>
                  <a:pt x="1264" y="527"/>
                  <a:pt x="1264" y="545"/>
                </a:cubicBezTo>
                <a:cubicBezTo>
                  <a:pt x="1252" y="545"/>
                  <a:pt x="1252" y="545"/>
                  <a:pt x="1252" y="545"/>
                </a:cubicBezTo>
                <a:cubicBezTo>
                  <a:pt x="1252" y="527"/>
                  <a:pt x="1229" y="512"/>
                  <a:pt x="1202" y="512"/>
                </a:cubicBezTo>
                <a:cubicBezTo>
                  <a:pt x="1175" y="512"/>
                  <a:pt x="1153" y="527"/>
                  <a:pt x="1153" y="545"/>
                </a:cubicBezTo>
                <a:cubicBezTo>
                  <a:pt x="1133" y="545"/>
                  <a:pt x="1133" y="545"/>
                  <a:pt x="1133" y="545"/>
                </a:cubicBezTo>
                <a:cubicBezTo>
                  <a:pt x="1133" y="527"/>
                  <a:pt x="1111" y="512"/>
                  <a:pt x="1084" y="512"/>
                </a:cubicBezTo>
                <a:cubicBezTo>
                  <a:pt x="1057" y="512"/>
                  <a:pt x="1035" y="527"/>
                  <a:pt x="1035" y="545"/>
                </a:cubicBezTo>
                <a:cubicBezTo>
                  <a:pt x="1021" y="545"/>
                  <a:pt x="1021" y="545"/>
                  <a:pt x="1021" y="545"/>
                </a:cubicBezTo>
                <a:cubicBezTo>
                  <a:pt x="1021" y="527"/>
                  <a:pt x="999" y="512"/>
                  <a:pt x="972" y="512"/>
                </a:cubicBezTo>
                <a:cubicBezTo>
                  <a:pt x="945" y="512"/>
                  <a:pt x="923" y="527"/>
                  <a:pt x="923" y="545"/>
                </a:cubicBezTo>
                <a:cubicBezTo>
                  <a:pt x="0" y="545"/>
                  <a:pt x="0" y="545"/>
                  <a:pt x="0" y="545"/>
                </a:cubicBezTo>
                <a:cubicBezTo>
                  <a:pt x="0" y="173"/>
                  <a:pt x="0" y="173"/>
                  <a:pt x="0" y="173"/>
                </a:cubicBezTo>
                <a:cubicBezTo>
                  <a:pt x="32" y="162"/>
                  <a:pt x="32" y="162"/>
                  <a:pt x="32" y="162"/>
                </a:cubicBezTo>
                <a:cubicBezTo>
                  <a:pt x="112" y="259"/>
                  <a:pt x="112" y="259"/>
                  <a:pt x="112" y="259"/>
                </a:cubicBezTo>
                <a:cubicBezTo>
                  <a:pt x="159" y="259"/>
                  <a:pt x="159" y="259"/>
                  <a:pt x="159" y="259"/>
                </a:cubicBezTo>
                <a:cubicBezTo>
                  <a:pt x="187" y="281"/>
                  <a:pt x="187" y="281"/>
                  <a:pt x="187" y="281"/>
                </a:cubicBezTo>
                <a:cubicBezTo>
                  <a:pt x="232" y="306"/>
                  <a:pt x="232" y="306"/>
                  <a:pt x="232" y="306"/>
                </a:cubicBezTo>
                <a:cubicBezTo>
                  <a:pt x="276" y="346"/>
                  <a:pt x="276" y="346"/>
                  <a:pt x="276" y="346"/>
                </a:cubicBezTo>
                <a:cubicBezTo>
                  <a:pt x="319" y="334"/>
                  <a:pt x="319" y="334"/>
                  <a:pt x="319" y="334"/>
                </a:cubicBezTo>
                <a:cubicBezTo>
                  <a:pt x="363" y="387"/>
                  <a:pt x="363" y="387"/>
                  <a:pt x="363" y="387"/>
                </a:cubicBezTo>
                <a:cubicBezTo>
                  <a:pt x="399" y="354"/>
                  <a:pt x="399" y="354"/>
                  <a:pt x="399" y="354"/>
                </a:cubicBezTo>
                <a:cubicBezTo>
                  <a:pt x="418" y="287"/>
                  <a:pt x="418" y="287"/>
                  <a:pt x="418" y="287"/>
                </a:cubicBezTo>
                <a:cubicBezTo>
                  <a:pt x="426" y="258"/>
                  <a:pt x="426" y="258"/>
                  <a:pt x="426" y="258"/>
                </a:cubicBezTo>
                <a:cubicBezTo>
                  <a:pt x="435" y="258"/>
                  <a:pt x="435" y="258"/>
                  <a:pt x="435" y="258"/>
                </a:cubicBezTo>
                <a:cubicBezTo>
                  <a:pt x="446" y="304"/>
                  <a:pt x="446" y="304"/>
                  <a:pt x="446" y="304"/>
                </a:cubicBezTo>
                <a:cubicBezTo>
                  <a:pt x="457" y="304"/>
                  <a:pt x="457" y="304"/>
                  <a:pt x="457" y="304"/>
                </a:cubicBezTo>
                <a:cubicBezTo>
                  <a:pt x="457" y="209"/>
                  <a:pt x="457" y="209"/>
                  <a:pt x="457" y="209"/>
                </a:cubicBezTo>
                <a:cubicBezTo>
                  <a:pt x="469" y="206"/>
                  <a:pt x="469" y="206"/>
                  <a:pt x="469" y="206"/>
                </a:cubicBezTo>
                <a:cubicBezTo>
                  <a:pt x="500" y="0"/>
                  <a:pt x="500" y="0"/>
                  <a:pt x="500" y="0"/>
                </a:cubicBezTo>
                <a:cubicBezTo>
                  <a:pt x="532" y="204"/>
                  <a:pt x="532" y="204"/>
                  <a:pt x="532" y="204"/>
                </a:cubicBezTo>
                <a:cubicBezTo>
                  <a:pt x="546" y="205"/>
                  <a:pt x="546" y="205"/>
                  <a:pt x="546" y="205"/>
                </a:cubicBezTo>
                <a:cubicBezTo>
                  <a:pt x="546" y="337"/>
                  <a:pt x="546" y="337"/>
                  <a:pt x="546" y="337"/>
                </a:cubicBezTo>
                <a:cubicBezTo>
                  <a:pt x="583" y="375"/>
                  <a:pt x="583" y="375"/>
                  <a:pt x="583" y="375"/>
                </a:cubicBezTo>
                <a:cubicBezTo>
                  <a:pt x="639" y="375"/>
                  <a:pt x="639" y="375"/>
                  <a:pt x="639" y="375"/>
                </a:cubicBezTo>
                <a:cubicBezTo>
                  <a:pt x="639" y="311"/>
                  <a:pt x="639" y="311"/>
                  <a:pt x="639" y="311"/>
                </a:cubicBezTo>
                <a:cubicBezTo>
                  <a:pt x="639" y="311"/>
                  <a:pt x="620" y="307"/>
                  <a:pt x="620" y="298"/>
                </a:cubicBezTo>
                <a:cubicBezTo>
                  <a:pt x="620" y="290"/>
                  <a:pt x="639" y="286"/>
                  <a:pt x="639" y="286"/>
                </a:cubicBezTo>
                <a:cubicBezTo>
                  <a:pt x="639" y="275"/>
                  <a:pt x="639" y="275"/>
                  <a:pt x="639" y="275"/>
                </a:cubicBezTo>
                <a:cubicBezTo>
                  <a:pt x="656" y="258"/>
                  <a:pt x="656" y="258"/>
                  <a:pt x="656" y="258"/>
                </a:cubicBezTo>
                <a:cubicBezTo>
                  <a:pt x="680" y="180"/>
                  <a:pt x="680" y="180"/>
                  <a:pt x="680" y="180"/>
                </a:cubicBezTo>
                <a:cubicBezTo>
                  <a:pt x="699" y="258"/>
                  <a:pt x="699" y="258"/>
                  <a:pt x="699" y="258"/>
                </a:cubicBezTo>
                <a:cubicBezTo>
                  <a:pt x="718" y="272"/>
                  <a:pt x="718" y="272"/>
                  <a:pt x="718" y="272"/>
                </a:cubicBezTo>
                <a:cubicBezTo>
                  <a:pt x="718" y="286"/>
                  <a:pt x="718" y="286"/>
                  <a:pt x="718" y="286"/>
                </a:cubicBezTo>
                <a:cubicBezTo>
                  <a:pt x="718" y="286"/>
                  <a:pt x="734" y="290"/>
                  <a:pt x="734" y="299"/>
                </a:cubicBezTo>
                <a:cubicBezTo>
                  <a:pt x="734" y="308"/>
                  <a:pt x="718" y="310"/>
                  <a:pt x="718" y="310"/>
                </a:cubicBezTo>
                <a:cubicBezTo>
                  <a:pt x="718" y="403"/>
                  <a:pt x="718" y="403"/>
                  <a:pt x="718" y="403"/>
                </a:cubicBezTo>
                <a:cubicBezTo>
                  <a:pt x="737" y="403"/>
                  <a:pt x="737" y="403"/>
                  <a:pt x="737" y="403"/>
                </a:cubicBezTo>
                <a:cubicBezTo>
                  <a:pt x="751" y="388"/>
                  <a:pt x="751" y="388"/>
                  <a:pt x="751" y="388"/>
                </a:cubicBezTo>
                <a:cubicBezTo>
                  <a:pt x="789" y="388"/>
                  <a:pt x="789" y="388"/>
                  <a:pt x="789" y="388"/>
                </a:cubicBezTo>
                <a:cubicBezTo>
                  <a:pt x="789" y="375"/>
                  <a:pt x="789" y="375"/>
                  <a:pt x="789" y="375"/>
                </a:cubicBezTo>
                <a:cubicBezTo>
                  <a:pt x="917" y="375"/>
                  <a:pt x="917" y="375"/>
                  <a:pt x="917" y="375"/>
                </a:cubicBezTo>
                <a:cubicBezTo>
                  <a:pt x="917" y="383"/>
                  <a:pt x="917" y="383"/>
                  <a:pt x="917" y="383"/>
                </a:cubicBezTo>
                <a:cubicBezTo>
                  <a:pt x="954" y="383"/>
                  <a:pt x="954" y="383"/>
                  <a:pt x="954" y="383"/>
                </a:cubicBezTo>
                <a:cubicBezTo>
                  <a:pt x="964" y="395"/>
                  <a:pt x="964" y="395"/>
                  <a:pt x="964" y="395"/>
                </a:cubicBezTo>
                <a:cubicBezTo>
                  <a:pt x="964" y="435"/>
                  <a:pt x="964" y="435"/>
                  <a:pt x="964" y="435"/>
                </a:cubicBezTo>
                <a:cubicBezTo>
                  <a:pt x="1006" y="435"/>
                  <a:pt x="1006" y="435"/>
                  <a:pt x="1006" y="435"/>
                </a:cubicBezTo>
                <a:cubicBezTo>
                  <a:pt x="1021" y="419"/>
                  <a:pt x="1021" y="419"/>
                  <a:pt x="1021" y="419"/>
                </a:cubicBezTo>
                <a:cubicBezTo>
                  <a:pt x="1036" y="431"/>
                  <a:pt x="1036" y="431"/>
                  <a:pt x="1036" y="431"/>
                </a:cubicBezTo>
                <a:cubicBezTo>
                  <a:pt x="1065" y="431"/>
                  <a:pt x="1065" y="431"/>
                  <a:pt x="1065" y="431"/>
                </a:cubicBezTo>
                <a:cubicBezTo>
                  <a:pt x="1084" y="412"/>
                  <a:pt x="1084" y="412"/>
                  <a:pt x="1084" y="412"/>
                </a:cubicBezTo>
                <a:cubicBezTo>
                  <a:pt x="1104" y="429"/>
                  <a:pt x="1104" y="429"/>
                  <a:pt x="1104" y="429"/>
                </a:cubicBezTo>
                <a:cubicBezTo>
                  <a:pt x="1161" y="429"/>
                  <a:pt x="1161" y="429"/>
                  <a:pt x="1161" y="429"/>
                </a:cubicBezTo>
                <a:cubicBezTo>
                  <a:pt x="1175" y="415"/>
                  <a:pt x="1175" y="415"/>
                  <a:pt x="1175" y="415"/>
                </a:cubicBezTo>
                <a:cubicBezTo>
                  <a:pt x="1188" y="427"/>
                  <a:pt x="1188" y="427"/>
                  <a:pt x="1188" y="427"/>
                </a:cubicBezTo>
                <a:cubicBezTo>
                  <a:pt x="1210" y="427"/>
                  <a:pt x="1210" y="427"/>
                  <a:pt x="1210" y="427"/>
                </a:cubicBezTo>
                <a:cubicBezTo>
                  <a:pt x="1210" y="497"/>
                  <a:pt x="1210" y="497"/>
                  <a:pt x="1210" y="497"/>
                </a:cubicBezTo>
                <a:cubicBezTo>
                  <a:pt x="1246" y="497"/>
                  <a:pt x="1246" y="497"/>
                  <a:pt x="1246" y="497"/>
                </a:cubicBezTo>
                <a:cubicBezTo>
                  <a:pt x="1246" y="443"/>
                  <a:pt x="1246" y="443"/>
                  <a:pt x="1246" y="443"/>
                </a:cubicBezTo>
                <a:cubicBezTo>
                  <a:pt x="1225" y="443"/>
                  <a:pt x="1225" y="443"/>
                  <a:pt x="1225" y="443"/>
                </a:cubicBezTo>
                <a:cubicBezTo>
                  <a:pt x="1251" y="427"/>
                  <a:pt x="1251" y="427"/>
                  <a:pt x="1251" y="427"/>
                </a:cubicBezTo>
                <a:cubicBezTo>
                  <a:pt x="1251" y="406"/>
                  <a:pt x="1251" y="406"/>
                  <a:pt x="1251" y="406"/>
                </a:cubicBezTo>
                <a:cubicBezTo>
                  <a:pt x="1280" y="406"/>
                  <a:pt x="1280" y="406"/>
                  <a:pt x="1280" y="406"/>
                </a:cubicBezTo>
                <a:cubicBezTo>
                  <a:pt x="1299" y="390"/>
                  <a:pt x="1299" y="390"/>
                  <a:pt x="1299" y="390"/>
                </a:cubicBezTo>
                <a:cubicBezTo>
                  <a:pt x="1319" y="406"/>
                  <a:pt x="1319" y="406"/>
                  <a:pt x="1319" y="406"/>
                </a:cubicBezTo>
                <a:cubicBezTo>
                  <a:pt x="1349" y="406"/>
                  <a:pt x="1349" y="406"/>
                  <a:pt x="1349" y="406"/>
                </a:cubicBezTo>
                <a:cubicBezTo>
                  <a:pt x="1349" y="431"/>
                  <a:pt x="1349" y="431"/>
                  <a:pt x="1349" y="431"/>
                </a:cubicBezTo>
                <a:cubicBezTo>
                  <a:pt x="1369" y="431"/>
                  <a:pt x="1369" y="431"/>
                  <a:pt x="1369" y="431"/>
                </a:cubicBezTo>
                <a:cubicBezTo>
                  <a:pt x="1369" y="396"/>
                  <a:pt x="1369" y="396"/>
                  <a:pt x="1369" y="396"/>
                </a:cubicBezTo>
                <a:cubicBezTo>
                  <a:pt x="1390" y="375"/>
                  <a:pt x="1390" y="375"/>
                  <a:pt x="1390" y="375"/>
                </a:cubicBezTo>
                <a:cubicBezTo>
                  <a:pt x="1390" y="355"/>
                  <a:pt x="1390" y="355"/>
                  <a:pt x="1390" y="355"/>
                </a:cubicBezTo>
                <a:cubicBezTo>
                  <a:pt x="1415" y="355"/>
                  <a:pt x="1415" y="355"/>
                  <a:pt x="1415" y="355"/>
                </a:cubicBezTo>
                <a:cubicBezTo>
                  <a:pt x="1445" y="329"/>
                  <a:pt x="1445" y="329"/>
                  <a:pt x="1445" y="329"/>
                </a:cubicBezTo>
                <a:cubicBezTo>
                  <a:pt x="1548" y="329"/>
                  <a:pt x="1548" y="329"/>
                  <a:pt x="1548" y="329"/>
                </a:cubicBezTo>
                <a:cubicBezTo>
                  <a:pt x="1548" y="307"/>
                  <a:pt x="1548" y="307"/>
                  <a:pt x="1548" y="307"/>
                </a:cubicBezTo>
                <a:cubicBezTo>
                  <a:pt x="1540" y="307"/>
                  <a:pt x="1540" y="307"/>
                  <a:pt x="1540" y="307"/>
                </a:cubicBezTo>
                <a:cubicBezTo>
                  <a:pt x="1540" y="271"/>
                  <a:pt x="1540" y="271"/>
                  <a:pt x="1540" y="271"/>
                </a:cubicBezTo>
                <a:cubicBezTo>
                  <a:pt x="1550" y="271"/>
                  <a:pt x="1550" y="271"/>
                  <a:pt x="1550" y="271"/>
                </a:cubicBezTo>
                <a:cubicBezTo>
                  <a:pt x="1550" y="244"/>
                  <a:pt x="1550" y="244"/>
                  <a:pt x="1550" y="244"/>
                </a:cubicBezTo>
                <a:cubicBezTo>
                  <a:pt x="1559" y="244"/>
                  <a:pt x="1559" y="244"/>
                  <a:pt x="1559" y="244"/>
                </a:cubicBezTo>
                <a:cubicBezTo>
                  <a:pt x="1559" y="272"/>
                  <a:pt x="1559" y="272"/>
                  <a:pt x="1559" y="272"/>
                </a:cubicBezTo>
                <a:cubicBezTo>
                  <a:pt x="1569" y="272"/>
                  <a:pt x="1569" y="272"/>
                  <a:pt x="1569" y="272"/>
                </a:cubicBezTo>
                <a:cubicBezTo>
                  <a:pt x="1569" y="306"/>
                  <a:pt x="1569" y="306"/>
                  <a:pt x="1569" y="306"/>
                </a:cubicBezTo>
                <a:cubicBezTo>
                  <a:pt x="1562" y="306"/>
                  <a:pt x="1562" y="306"/>
                  <a:pt x="1562" y="306"/>
                </a:cubicBezTo>
                <a:cubicBezTo>
                  <a:pt x="1562" y="329"/>
                  <a:pt x="1562" y="329"/>
                  <a:pt x="1562" y="329"/>
                </a:cubicBezTo>
                <a:cubicBezTo>
                  <a:pt x="1588" y="329"/>
                  <a:pt x="1588" y="329"/>
                  <a:pt x="1588" y="329"/>
                </a:cubicBezTo>
                <a:cubicBezTo>
                  <a:pt x="1616" y="375"/>
                  <a:pt x="1616" y="375"/>
                  <a:pt x="1616" y="375"/>
                </a:cubicBezTo>
                <a:cubicBezTo>
                  <a:pt x="1676" y="375"/>
                  <a:pt x="1676" y="375"/>
                  <a:pt x="1676" y="375"/>
                </a:cubicBezTo>
                <a:cubicBezTo>
                  <a:pt x="1676" y="329"/>
                  <a:pt x="1676" y="329"/>
                  <a:pt x="1676" y="329"/>
                </a:cubicBezTo>
                <a:cubicBezTo>
                  <a:pt x="1696" y="321"/>
                  <a:pt x="1696" y="321"/>
                  <a:pt x="1696" y="321"/>
                </a:cubicBezTo>
                <a:cubicBezTo>
                  <a:pt x="1696" y="258"/>
                  <a:pt x="1696" y="258"/>
                  <a:pt x="1696" y="258"/>
                </a:cubicBezTo>
                <a:cubicBezTo>
                  <a:pt x="1704" y="258"/>
                  <a:pt x="1704" y="258"/>
                  <a:pt x="1704" y="258"/>
                </a:cubicBezTo>
                <a:cubicBezTo>
                  <a:pt x="1704" y="166"/>
                  <a:pt x="1704" y="166"/>
                  <a:pt x="1704" y="166"/>
                </a:cubicBezTo>
                <a:cubicBezTo>
                  <a:pt x="1713" y="166"/>
                  <a:pt x="1713" y="166"/>
                  <a:pt x="1713" y="166"/>
                </a:cubicBezTo>
                <a:cubicBezTo>
                  <a:pt x="1713" y="104"/>
                  <a:pt x="1713" y="104"/>
                  <a:pt x="1713" y="104"/>
                </a:cubicBezTo>
                <a:cubicBezTo>
                  <a:pt x="1725" y="104"/>
                  <a:pt x="1725" y="104"/>
                  <a:pt x="1725" y="104"/>
                </a:cubicBezTo>
                <a:cubicBezTo>
                  <a:pt x="1725" y="83"/>
                  <a:pt x="1725" y="83"/>
                  <a:pt x="1725" y="83"/>
                </a:cubicBezTo>
                <a:cubicBezTo>
                  <a:pt x="1725" y="83"/>
                  <a:pt x="1725" y="58"/>
                  <a:pt x="1751" y="58"/>
                </a:cubicBezTo>
                <a:cubicBezTo>
                  <a:pt x="1776" y="58"/>
                  <a:pt x="1778" y="83"/>
                  <a:pt x="1778" y="83"/>
                </a:cubicBezTo>
                <a:cubicBezTo>
                  <a:pt x="1778" y="104"/>
                  <a:pt x="1778" y="104"/>
                  <a:pt x="1778" y="104"/>
                </a:cubicBezTo>
                <a:cubicBezTo>
                  <a:pt x="1786" y="104"/>
                  <a:pt x="1786" y="104"/>
                  <a:pt x="1786" y="104"/>
                </a:cubicBezTo>
                <a:cubicBezTo>
                  <a:pt x="1786" y="164"/>
                  <a:pt x="1786" y="164"/>
                  <a:pt x="1786" y="164"/>
                </a:cubicBezTo>
                <a:cubicBezTo>
                  <a:pt x="1793" y="164"/>
                  <a:pt x="1793" y="164"/>
                  <a:pt x="1793" y="164"/>
                </a:cubicBezTo>
                <a:cubicBezTo>
                  <a:pt x="1793" y="257"/>
                  <a:pt x="1793" y="257"/>
                  <a:pt x="1793" y="257"/>
                </a:cubicBezTo>
                <a:cubicBezTo>
                  <a:pt x="1802" y="257"/>
                  <a:pt x="1802" y="257"/>
                  <a:pt x="1802" y="257"/>
                </a:cubicBezTo>
                <a:cubicBezTo>
                  <a:pt x="1802" y="164"/>
                  <a:pt x="1802" y="164"/>
                  <a:pt x="1802" y="164"/>
                </a:cubicBezTo>
                <a:cubicBezTo>
                  <a:pt x="1805" y="164"/>
                  <a:pt x="1805" y="164"/>
                  <a:pt x="1805" y="164"/>
                </a:cubicBezTo>
                <a:cubicBezTo>
                  <a:pt x="1805" y="104"/>
                  <a:pt x="1805" y="104"/>
                  <a:pt x="1805" y="104"/>
                </a:cubicBezTo>
                <a:cubicBezTo>
                  <a:pt x="1819" y="104"/>
                  <a:pt x="1819" y="104"/>
                  <a:pt x="1819" y="104"/>
                </a:cubicBezTo>
                <a:cubicBezTo>
                  <a:pt x="1819" y="83"/>
                  <a:pt x="1819" y="83"/>
                  <a:pt x="1819" y="83"/>
                </a:cubicBezTo>
                <a:cubicBezTo>
                  <a:pt x="1819" y="83"/>
                  <a:pt x="1819" y="58"/>
                  <a:pt x="1844" y="58"/>
                </a:cubicBezTo>
                <a:cubicBezTo>
                  <a:pt x="1870" y="58"/>
                  <a:pt x="1872" y="83"/>
                  <a:pt x="1872" y="83"/>
                </a:cubicBezTo>
                <a:cubicBezTo>
                  <a:pt x="1872" y="104"/>
                  <a:pt x="1872" y="104"/>
                  <a:pt x="1872" y="104"/>
                </a:cubicBezTo>
                <a:cubicBezTo>
                  <a:pt x="1878" y="104"/>
                  <a:pt x="1878" y="104"/>
                  <a:pt x="1878" y="104"/>
                </a:cubicBezTo>
                <a:cubicBezTo>
                  <a:pt x="1878" y="167"/>
                  <a:pt x="1878" y="167"/>
                  <a:pt x="1878" y="167"/>
                </a:cubicBezTo>
                <a:cubicBezTo>
                  <a:pt x="1886" y="167"/>
                  <a:pt x="1886" y="167"/>
                  <a:pt x="1886" y="167"/>
                </a:cubicBezTo>
                <a:cubicBezTo>
                  <a:pt x="1886" y="258"/>
                  <a:pt x="1886" y="258"/>
                  <a:pt x="1886" y="258"/>
                </a:cubicBezTo>
                <a:cubicBezTo>
                  <a:pt x="2028" y="258"/>
                  <a:pt x="2028" y="258"/>
                  <a:pt x="2028" y="258"/>
                </a:cubicBezTo>
                <a:cubicBezTo>
                  <a:pt x="2028" y="241"/>
                  <a:pt x="2028" y="241"/>
                  <a:pt x="2028" y="241"/>
                </a:cubicBezTo>
                <a:cubicBezTo>
                  <a:pt x="2018" y="241"/>
                  <a:pt x="2018" y="241"/>
                  <a:pt x="2018" y="241"/>
                </a:cubicBezTo>
                <a:cubicBezTo>
                  <a:pt x="2018" y="230"/>
                  <a:pt x="2018" y="230"/>
                  <a:pt x="2018" y="230"/>
                </a:cubicBezTo>
                <a:cubicBezTo>
                  <a:pt x="2028" y="230"/>
                  <a:pt x="2028" y="230"/>
                  <a:pt x="2028" y="230"/>
                </a:cubicBezTo>
                <a:cubicBezTo>
                  <a:pt x="2028" y="192"/>
                  <a:pt x="2028" y="192"/>
                  <a:pt x="2028" y="192"/>
                </a:cubicBezTo>
                <a:cubicBezTo>
                  <a:pt x="2035" y="192"/>
                  <a:pt x="2035" y="192"/>
                  <a:pt x="2035" y="192"/>
                </a:cubicBezTo>
                <a:cubicBezTo>
                  <a:pt x="2035" y="158"/>
                  <a:pt x="2035" y="158"/>
                  <a:pt x="2035" y="158"/>
                </a:cubicBezTo>
                <a:cubicBezTo>
                  <a:pt x="2035" y="150"/>
                  <a:pt x="2035" y="150"/>
                  <a:pt x="2035" y="150"/>
                </a:cubicBezTo>
                <a:cubicBezTo>
                  <a:pt x="2046" y="150"/>
                  <a:pt x="2046" y="150"/>
                  <a:pt x="2046" y="150"/>
                </a:cubicBezTo>
                <a:cubicBezTo>
                  <a:pt x="2046" y="192"/>
                  <a:pt x="2046" y="192"/>
                  <a:pt x="2046" y="192"/>
                </a:cubicBezTo>
                <a:cubicBezTo>
                  <a:pt x="2051" y="192"/>
                  <a:pt x="2051" y="192"/>
                  <a:pt x="2051" y="192"/>
                </a:cubicBezTo>
                <a:cubicBezTo>
                  <a:pt x="2051" y="230"/>
                  <a:pt x="2051" y="230"/>
                  <a:pt x="2051" y="230"/>
                </a:cubicBezTo>
                <a:cubicBezTo>
                  <a:pt x="2064" y="230"/>
                  <a:pt x="2064" y="230"/>
                  <a:pt x="2064" y="230"/>
                </a:cubicBezTo>
                <a:cubicBezTo>
                  <a:pt x="2064" y="241"/>
                  <a:pt x="2064" y="241"/>
                  <a:pt x="2064" y="241"/>
                </a:cubicBezTo>
                <a:cubicBezTo>
                  <a:pt x="2051" y="241"/>
                  <a:pt x="2051" y="241"/>
                  <a:pt x="2051" y="241"/>
                </a:cubicBezTo>
                <a:cubicBezTo>
                  <a:pt x="2051" y="258"/>
                  <a:pt x="2051" y="258"/>
                  <a:pt x="2051" y="258"/>
                </a:cubicBezTo>
                <a:cubicBezTo>
                  <a:pt x="2077" y="258"/>
                  <a:pt x="2077" y="258"/>
                  <a:pt x="2077" y="258"/>
                </a:cubicBezTo>
                <a:cubicBezTo>
                  <a:pt x="2104" y="286"/>
                  <a:pt x="2104" y="286"/>
                  <a:pt x="2104" y="286"/>
                </a:cubicBezTo>
                <a:cubicBezTo>
                  <a:pt x="2136" y="286"/>
                  <a:pt x="2136" y="286"/>
                  <a:pt x="2136" y="286"/>
                </a:cubicBezTo>
                <a:cubicBezTo>
                  <a:pt x="2136" y="333"/>
                  <a:pt x="2136" y="333"/>
                  <a:pt x="2136" y="333"/>
                </a:cubicBezTo>
                <a:cubicBezTo>
                  <a:pt x="2178" y="333"/>
                  <a:pt x="2178" y="333"/>
                  <a:pt x="2178" y="333"/>
                </a:cubicBezTo>
                <a:cubicBezTo>
                  <a:pt x="2178" y="363"/>
                  <a:pt x="2178" y="363"/>
                  <a:pt x="2178" y="363"/>
                </a:cubicBezTo>
                <a:cubicBezTo>
                  <a:pt x="2221" y="363"/>
                  <a:pt x="2221" y="363"/>
                  <a:pt x="2221" y="363"/>
                </a:cubicBezTo>
                <a:cubicBezTo>
                  <a:pt x="2221" y="343"/>
                  <a:pt x="2221" y="343"/>
                  <a:pt x="2221" y="343"/>
                </a:cubicBezTo>
                <a:cubicBezTo>
                  <a:pt x="2243" y="343"/>
                  <a:pt x="2243" y="343"/>
                  <a:pt x="2243" y="343"/>
                </a:cubicBezTo>
                <a:cubicBezTo>
                  <a:pt x="2295" y="391"/>
                  <a:pt x="2295" y="391"/>
                  <a:pt x="2295" y="391"/>
                </a:cubicBezTo>
                <a:cubicBezTo>
                  <a:pt x="2312" y="391"/>
                  <a:pt x="2312" y="391"/>
                  <a:pt x="2312" y="391"/>
                </a:cubicBezTo>
                <a:cubicBezTo>
                  <a:pt x="2312" y="363"/>
                  <a:pt x="2312" y="363"/>
                  <a:pt x="2312" y="363"/>
                </a:cubicBezTo>
                <a:cubicBezTo>
                  <a:pt x="2377" y="363"/>
                  <a:pt x="2377" y="363"/>
                  <a:pt x="2377" y="363"/>
                </a:cubicBezTo>
                <a:cubicBezTo>
                  <a:pt x="2377" y="453"/>
                  <a:pt x="2377" y="453"/>
                  <a:pt x="2377" y="453"/>
                </a:cubicBezTo>
                <a:cubicBezTo>
                  <a:pt x="2419" y="453"/>
                  <a:pt x="2419" y="453"/>
                  <a:pt x="2419" y="453"/>
                </a:cubicBezTo>
                <a:cubicBezTo>
                  <a:pt x="2419" y="423"/>
                  <a:pt x="2419" y="423"/>
                  <a:pt x="2419" y="423"/>
                </a:cubicBezTo>
                <a:cubicBezTo>
                  <a:pt x="2477" y="423"/>
                  <a:pt x="2477" y="423"/>
                  <a:pt x="2477" y="423"/>
                </a:cubicBezTo>
                <a:cubicBezTo>
                  <a:pt x="2512" y="311"/>
                  <a:pt x="2512" y="311"/>
                  <a:pt x="2512" y="311"/>
                </a:cubicBezTo>
                <a:cubicBezTo>
                  <a:pt x="2557" y="311"/>
                  <a:pt x="2557" y="311"/>
                  <a:pt x="2557" y="311"/>
                </a:cubicBezTo>
                <a:cubicBezTo>
                  <a:pt x="2587" y="341"/>
                  <a:pt x="2587" y="341"/>
                  <a:pt x="2587" y="341"/>
                </a:cubicBezTo>
                <a:cubicBezTo>
                  <a:pt x="2625" y="341"/>
                  <a:pt x="2625" y="341"/>
                  <a:pt x="2625" y="341"/>
                </a:cubicBezTo>
                <a:cubicBezTo>
                  <a:pt x="2647" y="326"/>
                  <a:pt x="2647" y="326"/>
                  <a:pt x="2647" y="326"/>
                </a:cubicBezTo>
                <a:cubicBezTo>
                  <a:pt x="2669" y="342"/>
                  <a:pt x="2669" y="342"/>
                  <a:pt x="2669" y="342"/>
                </a:cubicBezTo>
                <a:cubicBezTo>
                  <a:pt x="2707" y="342"/>
                  <a:pt x="2707" y="342"/>
                  <a:pt x="2707" y="342"/>
                </a:cubicBezTo>
                <a:cubicBezTo>
                  <a:pt x="2707" y="386"/>
                  <a:pt x="2707" y="386"/>
                  <a:pt x="2707" y="386"/>
                </a:cubicBezTo>
                <a:cubicBezTo>
                  <a:pt x="2743" y="386"/>
                  <a:pt x="2743" y="386"/>
                  <a:pt x="2743" y="386"/>
                </a:cubicBezTo>
                <a:cubicBezTo>
                  <a:pt x="2743" y="433"/>
                  <a:pt x="2743" y="433"/>
                  <a:pt x="2743" y="433"/>
                </a:cubicBezTo>
                <a:cubicBezTo>
                  <a:pt x="2800" y="481"/>
                  <a:pt x="2800" y="481"/>
                  <a:pt x="2800" y="481"/>
                </a:cubicBezTo>
                <a:cubicBezTo>
                  <a:pt x="2800" y="450"/>
                  <a:pt x="2800" y="450"/>
                  <a:pt x="2800" y="450"/>
                </a:cubicBezTo>
                <a:cubicBezTo>
                  <a:pt x="2880" y="450"/>
                  <a:pt x="2880" y="450"/>
                  <a:pt x="2880" y="450"/>
                </a:cubicBezTo>
                <a:cubicBezTo>
                  <a:pt x="2880" y="471"/>
                  <a:pt x="2880" y="471"/>
                  <a:pt x="2880" y="471"/>
                </a:cubicBezTo>
                <a:cubicBezTo>
                  <a:pt x="2880" y="545"/>
                  <a:pt x="2880" y="545"/>
                  <a:pt x="2880" y="545"/>
                </a:cubicBezTo>
                <a:lnTo>
                  <a:pt x="2537" y="545"/>
                </a:lnTo>
                <a:close/>
              </a:path>
            </a:pathLst>
          </a:custGeom>
          <a:solidFill>
            <a:schemeClr val="tx1">
              <a:alpha val="2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spTree>
    <p:extLst>
      <p:ext uri="{BB962C8B-B14F-4D97-AF65-F5344CB8AC3E}">
        <p14:creationId xmlns:p14="http://schemas.microsoft.com/office/powerpoint/2010/main" val="3950971058"/>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D9B94AEB-589D-4E83-A765-9278E18CB002}"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84900701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AD5A4F36-11A4-4BF1-B551-4441257BEEF5}"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15351994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fld id="{FF4C6963-E1B5-4693-BD21-F8ACC6A336EA}" type="slidenum">
              <a:rPr lang="en-GB" altLang="de-DE">
                <a:solidFill>
                  <a:srgbClr val="001155"/>
                </a:solidFill>
              </a:rPr>
              <a:pPr/>
              <a:t>‹#›</a:t>
            </a:fld>
            <a:endParaRPr lang="en-GB" altLang="de-DE">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37418218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fld id="{8D8FC6F4-8DD2-48F9-AA6C-3A26D6F91498}" type="slidenum">
              <a:rPr lang="en-GB" altLang="de-DE">
                <a:solidFill>
                  <a:srgbClr val="001155"/>
                </a:solidFill>
              </a:rPr>
              <a:pPr/>
              <a:t>‹#›</a:t>
            </a:fld>
            <a:endParaRPr lang="en-GB" altLang="de-DE">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5423066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fld id="{6A7B2868-3011-4C46-9D62-F52296DFE1E5}" type="slidenum">
              <a:rPr lang="en-GB" altLang="de-DE">
                <a:solidFill>
                  <a:srgbClr val="001155"/>
                </a:solidFill>
              </a:rPr>
              <a:pPr/>
              <a:t>‹#›</a:t>
            </a:fld>
            <a:endParaRPr lang="en-GB" altLang="de-DE">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0634160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55AA9E37-CDB3-4DEE-9D1B-D82C9F2C2ECC}"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36742251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F12B2A20-F513-4193-9BE6-107F69D0AC0B}"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2274221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F6295085-3888-42EE-A373-4CC20443BA29}"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540089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D88C77D3-6A8F-4960-9E41-BC553E8773B9}"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1904951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92371468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4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5"/>
          <p:cNvSpPr>
            <a:spLocks/>
          </p:cNvSpPr>
          <p:nvPr userDrawn="1"/>
        </p:nvSpPr>
        <p:spPr bwMode="auto">
          <a:xfrm>
            <a:off x="21167" y="5022851"/>
            <a:ext cx="11004551" cy="1549400"/>
          </a:xfrm>
          <a:custGeom>
            <a:avLst/>
            <a:gdLst>
              <a:gd name="T0" fmla="*/ 2147483647 w 2915"/>
              <a:gd name="T1" fmla="*/ 2147483647 h 545"/>
              <a:gd name="T2" fmla="*/ 2147483647 w 2915"/>
              <a:gd name="T3" fmla="*/ 2147483647 h 545"/>
              <a:gd name="T4" fmla="*/ 2147483647 w 2915"/>
              <a:gd name="T5" fmla="*/ 2147483647 h 545"/>
              <a:gd name="T6" fmla="*/ 2147483647 w 2915"/>
              <a:gd name="T7" fmla="*/ 2147483647 h 545"/>
              <a:gd name="T8" fmla="*/ 2147483647 w 2915"/>
              <a:gd name="T9" fmla="*/ 2147483647 h 545"/>
              <a:gd name="T10" fmla="*/ 2147483647 w 2915"/>
              <a:gd name="T11" fmla="*/ 2147483647 h 545"/>
              <a:gd name="T12" fmla="*/ 2147483647 w 2915"/>
              <a:gd name="T13" fmla="*/ 2147483647 h 545"/>
              <a:gd name="T14" fmla="*/ 2147483647 w 2915"/>
              <a:gd name="T15" fmla="*/ 2147483647 h 545"/>
              <a:gd name="T16" fmla="*/ 2147483647 w 2915"/>
              <a:gd name="T17" fmla="*/ 2147483647 h 545"/>
              <a:gd name="T18" fmla="*/ 2147483647 w 2915"/>
              <a:gd name="T19" fmla="*/ 2147483647 h 545"/>
              <a:gd name="T20" fmla="*/ 2147483647 w 2915"/>
              <a:gd name="T21" fmla="*/ 2147483647 h 545"/>
              <a:gd name="T22" fmla="*/ 2147483647 w 2915"/>
              <a:gd name="T23" fmla="*/ 2147483647 h 545"/>
              <a:gd name="T24" fmla="*/ 2147483647 w 2915"/>
              <a:gd name="T25" fmla="*/ 2147483647 h 545"/>
              <a:gd name="T26" fmla="*/ 2147483647 w 2915"/>
              <a:gd name="T27" fmla="*/ 2147483647 h 545"/>
              <a:gd name="T28" fmla="*/ 2147483647 w 2915"/>
              <a:gd name="T29" fmla="*/ 2147483647 h 545"/>
              <a:gd name="T30" fmla="*/ 2147483647 w 2915"/>
              <a:gd name="T31" fmla="*/ 2147483647 h 545"/>
              <a:gd name="T32" fmla="*/ 2147483647 w 2915"/>
              <a:gd name="T33" fmla="*/ 2147483647 h 545"/>
              <a:gd name="T34" fmla="*/ 2147483647 w 2915"/>
              <a:gd name="T35" fmla="*/ 2147483647 h 545"/>
              <a:gd name="T36" fmla="*/ 2147483647 w 2915"/>
              <a:gd name="T37" fmla="*/ 2147483647 h 545"/>
              <a:gd name="T38" fmla="*/ 2147483647 w 2915"/>
              <a:gd name="T39" fmla="*/ 2147483647 h 545"/>
              <a:gd name="T40" fmla="*/ 2147483647 w 2915"/>
              <a:gd name="T41" fmla="*/ 2147483647 h 545"/>
              <a:gd name="T42" fmla="*/ 2147483647 w 2915"/>
              <a:gd name="T43" fmla="*/ 2147483647 h 545"/>
              <a:gd name="T44" fmla="*/ 2147483647 w 2915"/>
              <a:gd name="T45" fmla="*/ 2147483647 h 545"/>
              <a:gd name="T46" fmla="*/ 2147483647 w 2915"/>
              <a:gd name="T47" fmla="*/ 2147483647 h 545"/>
              <a:gd name="T48" fmla="*/ 2147483647 w 2915"/>
              <a:gd name="T49" fmla="*/ 2147483647 h 545"/>
              <a:gd name="T50" fmla="*/ 2147483647 w 2915"/>
              <a:gd name="T51" fmla="*/ 2147483647 h 545"/>
              <a:gd name="T52" fmla="*/ 2147483647 w 2915"/>
              <a:gd name="T53" fmla="*/ 2147483647 h 545"/>
              <a:gd name="T54" fmla="*/ 2147483647 w 2915"/>
              <a:gd name="T55" fmla="*/ 2147483647 h 545"/>
              <a:gd name="T56" fmla="*/ 2147483647 w 2915"/>
              <a:gd name="T57" fmla="*/ 2147483647 h 545"/>
              <a:gd name="T58" fmla="*/ 2147483647 w 2915"/>
              <a:gd name="T59" fmla="*/ 2147483647 h 545"/>
              <a:gd name="T60" fmla="*/ 2147483647 w 2915"/>
              <a:gd name="T61" fmla="*/ 2147483647 h 545"/>
              <a:gd name="T62" fmla="*/ 2147483647 w 2915"/>
              <a:gd name="T63" fmla="*/ 2147483647 h 545"/>
              <a:gd name="T64" fmla="*/ 2147483647 w 2915"/>
              <a:gd name="T65" fmla="*/ 2147483647 h 545"/>
              <a:gd name="T66" fmla="*/ 2147483647 w 2915"/>
              <a:gd name="T67" fmla="*/ 2147483647 h 545"/>
              <a:gd name="T68" fmla="*/ 2147483647 w 2915"/>
              <a:gd name="T69" fmla="*/ 2147483647 h 545"/>
              <a:gd name="T70" fmla="*/ 2147483647 w 2915"/>
              <a:gd name="T71" fmla="*/ 2147483647 h 545"/>
              <a:gd name="T72" fmla="*/ 2147483647 w 2915"/>
              <a:gd name="T73" fmla="*/ 2147483647 h 545"/>
              <a:gd name="T74" fmla="*/ 2147483647 w 2915"/>
              <a:gd name="T75" fmla="*/ 2147483647 h 545"/>
              <a:gd name="T76" fmla="*/ 2147483647 w 2915"/>
              <a:gd name="T77" fmla="*/ 2147483647 h 545"/>
              <a:gd name="T78" fmla="*/ 2147483647 w 2915"/>
              <a:gd name="T79" fmla="*/ 2147483647 h 545"/>
              <a:gd name="T80" fmla="*/ 2147483647 w 2915"/>
              <a:gd name="T81" fmla="*/ 2147483647 h 545"/>
              <a:gd name="T82" fmla="*/ 2147483647 w 2915"/>
              <a:gd name="T83" fmla="*/ 2147483647 h 545"/>
              <a:gd name="T84" fmla="*/ 2147483647 w 2915"/>
              <a:gd name="T85" fmla="*/ 2147483647 h 545"/>
              <a:gd name="T86" fmla="*/ 2147483647 w 2915"/>
              <a:gd name="T87" fmla="*/ 2147483647 h 545"/>
              <a:gd name="T88" fmla="*/ 2147483647 w 2915"/>
              <a:gd name="T89" fmla="*/ 2147483647 h 545"/>
              <a:gd name="T90" fmla="*/ 2147483647 w 2915"/>
              <a:gd name="T91" fmla="*/ 2147483647 h 545"/>
              <a:gd name="T92" fmla="*/ 2147483647 w 2915"/>
              <a:gd name="T93" fmla="*/ 2147483647 h 545"/>
              <a:gd name="T94" fmla="*/ 2147483647 w 2915"/>
              <a:gd name="T95" fmla="*/ 2147483647 h 545"/>
              <a:gd name="T96" fmla="*/ 2147483647 w 2915"/>
              <a:gd name="T97" fmla="*/ 2147483647 h 545"/>
              <a:gd name="T98" fmla="*/ 2147483647 w 2915"/>
              <a:gd name="T99" fmla="*/ 2147483647 h 545"/>
              <a:gd name="T100" fmla="*/ 2147483647 w 2915"/>
              <a:gd name="T101" fmla="*/ 2147483647 h 545"/>
              <a:gd name="T102" fmla="*/ 2147483647 w 2915"/>
              <a:gd name="T103" fmla="*/ 2147483647 h 545"/>
              <a:gd name="T104" fmla="*/ 2147483647 w 2915"/>
              <a:gd name="T105" fmla="*/ 2147483647 h 545"/>
              <a:gd name="T106" fmla="*/ 0 w 2915"/>
              <a:gd name="T107" fmla="*/ 2147483647 h 545"/>
              <a:gd name="T108" fmla="*/ 2147483647 w 2915"/>
              <a:gd name="T109" fmla="*/ 2147483647 h 545"/>
              <a:gd name="T110" fmla="*/ 2147483647 w 2915"/>
              <a:gd name="T111" fmla="*/ 2147483647 h 545"/>
              <a:gd name="T112" fmla="*/ 2147483647 w 2915"/>
              <a:gd name="T113" fmla="*/ 2147483647 h 545"/>
              <a:gd name="T114" fmla="*/ 2147483647 w 2915"/>
              <a:gd name="T115" fmla="*/ 2147483647 h 5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915" h="545">
                <a:moveTo>
                  <a:pt x="490" y="259"/>
                </a:moveTo>
                <a:cubicBezTo>
                  <a:pt x="537" y="259"/>
                  <a:pt x="537" y="259"/>
                  <a:pt x="537" y="259"/>
                </a:cubicBezTo>
                <a:cubicBezTo>
                  <a:pt x="565" y="281"/>
                  <a:pt x="565" y="281"/>
                  <a:pt x="565" y="281"/>
                </a:cubicBezTo>
                <a:cubicBezTo>
                  <a:pt x="610" y="306"/>
                  <a:pt x="610" y="306"/>
                  <a:pt x="610" y="306"/>
                </a:cubicBezTo>
                <a:cubicBezTo>
                  <a:pt x="654" y="346"/>
                  <a:pt x="654" y="346"/>
                  <a:pt x="654" y="346"/>
                </a:cubicBezTo>
                <a:cubicBezTo>
                  <a:pt x="697" y="334"/>
                  <a:pt x="697" y="334"/>
                  <a:pt x="697" y="334"/>
                </a:cubicBezTo>
                <a:cubicBezTo>
                  <a:pt x="741" y="387"/>
                  <a:pt x="741" y="387"/>
                  <a:pt x="741" y="387"/>
                </a:cubicBezTo>
                <a:cubicBezTo>
                  <a:pt x="777" y="354"/>
                  <a:pt x="777" y="354"/>
                  <a:pt x="777" y="354"/>
                </a:cubicBezTo>
                <a:cubicBezTo>
                  <a:pt x="796" y="287"/>
                  <a:pt x="796" y="287"/>
                  <a:pt x="796" y="287"/>
                </a:cubicBezTo>
                <a:cubicBezTo>
                  <a:pt x="804" y="258"/>
                  <a:pt x="804" y="258"/>
                  <a:pt x="804" y="258"/>
                </a:cubicBezTo>
                <a:cubicBezTo>
                  <a:pt x="813" y="258"/>
                  <a:pt x="813" y="258"/>
                  <a:pt x="813" y="258"/>
                </a:cubicBezTo>
                <a:cubicBezTo>
                  <a:pt x="824" y="304"/>
                  <a:pt x="824" y="304"/>
                  <a:pt x="824" y="304"/>
                </a:cubicBezTo>
                <a:cubicBezTo>
                  <a:pt x="835" y="304"/>
                  <a:pt x="835" y="304"/>
                  <a:pt x="835" y="304"/>
                </a:cubicBezTo>
                <a:cubicBezTo>
                  <a:pt x="835" y="209"/>
                  <a:pt x="835" y="209"/>
                  <a:pt x="835" y="209"/>
                </a:cubicBezTo>
                <a:cubicBezTo>
                  <a:pt x="847" y="206"/>
                  <a:pt x="847" y="206"/>
                  <a:pt x="847" y="206"/>
                </a:cubicBezTo>
                <a:cubicBezTo>
                  <a:pt x="878" y="0"/>
                  <a:pt x="878" y="0"/>
                  <a:pt x="878" y="0"/>
                </a:cubicBezTo>
                <a:cubicBezTo>
                  <a:pt x="910" y="204"/>
                  <a:pt x="910" y="204"/>
                  <a:pt x="910" y="204"/>
                </a:cubicBezTo>
                <a:cubicBezTo>
                  <a:pt x="924" y="205"/>
                  <a:pt x="924" y="205"/>
                  <a:pt x="924" y="205"/>
                </a:cubicBezTo>
                <a:cubicBezTo>
                  <a:pt x="924" y="337"/>
                  <a:pt x="924" y="337"/>
                  <a:pt x="924" y="337"/>
                </a:cubicBezTo>
                <a:cubicBezTo>
                  <a:pt x="961" y="375"/>
                  <a:pt x="961" y="375"/>
                  <a:pt x="961" y="375"/>
                </a:cubicBezTo>
                <a:cubicBezTo>
                  <a:pt x="1017" y="375"/>
                  <a:pt x="1017" y="375"/>
                  <a:pt x="1017" y="375"/>
                </a:cubicBezTo>
                <a:cubicBezTo>
                  <a:pt x="1017" y="311"/>
                  <a:pt x="1017" y="311"/>
                  <a:pt x="1017" y="311"/>
                </a:cubicBezTo>
                <a:cubicBezTo>
                  <a:pt x="1017" y="311"/>
                  <a:pt x="998" y="307"/>
                  <a:pt x="998" y="298"/>
                </a:cubicBezTo>
                <a:cubicBezTo>
                  <a:pt x="998" y="290"/>
                  <a:pt x="1017" y="286"/>
                  <a:pt x="1017" y="286"/>
                </a:cubicBezTo>
                <a:cubicBezTo>
                  <a:pt x="1017" y="275"/>
                  <a:pt x="1017" y="275"/>
                  <a:pt x="1017" y="275"/>
                </a:cubicBezTo>
                <a:cubicBezTo>
                  <a:pt x="1034" y="258"/>
                  <a:pt x="1034" y="258"/>
                  <a:pt x="1034" y="258"/>
                </a:cubicBezTo>
                <a:cubicBezTo>
                  <a:pt x="1058" y="180"/>
                  <a:pt x="1058" y="180"/>
                  <a:pt x="1058" y="180"/>
                </a:cubicBezTo>
                <a:cubicBezTo>
                  <a:pt x="1077" y="258"/>
                  <a:pt x="1077" y="258"/>
                  <a:pt x="1077" y="258"/>
                </a:cubicBezTo>
                <a:cubicBezTo>
                  <a:pt x="1096" y="272"/>
                  <a:pt x="1096" y="272"/>
                  <a:pt x="1096" y="272"/>
                </a:cubicBezTo>
                <a:cubicBezTo>
                  <a:pt x="1096" y="286"/>
                  <a:pt x="1096" y="286"/>
                  <a:pt x="1096" y="286"/>
                </a:cubicBezTo>
                <a:cubicBezTo>
                  <a:pt x="1096" y="286"/>
                  <a:pt x="1112" y="290"/>
                  <a:pt x="1112" y="299"/>
                </a:cubicBezTo>
                <a:cubicBezTo>
                  <a:pt x="1112" y="308"/>
                  <a:pt x="1096" y="310"/>
                  <a:pt x="1096" y="310"/>
                </a:cubicBezTo>
                <a:cubicBezTo>
                  <a:pt x="1096" y="403"/>
                  <a:pt x="1096" y="403"/>
                  <a:pt x="1096" y="403"/>
                </a:cubicBezTo>
                <a:cubicBezTo>
                  <a:pt x="1115" y="403"/>
                  <a:pt x="1115" y="403"/>
                  <a:pt x="1115" y="403"/>
                </a:cubicBezTo>
                <a:cubicBezTo>
                  <a:pt x="1129" y="388"/>
                  <a:pt x="1129" y="388"/>
                  <a:pt x="1129" y="388"/>
                </a:cubicBezTo>
                <a:cubicBezTo>
                  <a:pt x="1167" y="388"/>
                  <a:pt x="1167" y="388"/>
                  <a:pt x="1167" y="388"/>
                </a:cubicBezTo>
                <a:cubicBezTo>
                  <a:pt x="1167" y="375"/>
                  <a:pt x="1167" y="375"/>
                  <a:pt x="1167" y="375"/>
                </a:cubicBezTo>
                <a:cubicBezTo>
                  <a:pt x="1295" y="375"/>
                  <a:pt x="1295" y="375"/>
                  <a:pt x="1295" y="375"/>
                </a:cubicBezTo>
                <a:cubicBezTo>
                  <a:pt x="1295" y="383"/>
                  <a:pt x="1295" y="383"/>
                  <a:pt x="1295" y="383"/>
                </a:cubicBezTo>
                <a:cubicBezTo>
                  <a:pt x="1332" y="383"/>
                  <a:pt x="1332" y="383"/>
                  <a:pt x="1332" y="383"/>
                </a:cubicBezTo>
                <a:cubicBezTo>
                  <a:pt x="1342" y="395"/>
                  <a:pt x="1342" y="395"/>
                  <a:pt x="1342" y="395"/>
                </a:cubicBezTo>
                <a:cubicBezTo>
                  <a:pt x="1342" y="435"/>
                  <a:pt x="1342" y="435"/>
                  <a:pt x="1342" y="435"/>
                </a:cubicBezTo>
                <a:cubicBezTo>
                  <a:pt x="1384" y="435"/>
                  <a:pt x="1384" y="435"/>
                  <a:pt x="1384" y="435"/>
                </a:cubicBezTo>
                <a:cubicBezTo>
                  <a:pt x="1399" y="419"/>
                  <a:pt x="1399" y="419"/>
                  <a:pt x="1399" y="419"/>
                </a:cubicBezTo>
                <a:cubicBezTo>
                  <a:pt x="1414" y="431"/>
                  <a:pt x="1414" y="431"/>
                  <a:pt x="1414" y="431"/>
                </a:cubicBezTo>
                <a:cubicBezTo>
                  <a:pt x="1443" y="431"/>
                  <a:pt x="1443" y="431"/>
                  <a:pt x="1443" y="431"/>
                </a:cubicBezTo>
                <a:cubicBezTo>
                  <a:pt x="1462" y="412"/>
                  <a:pt x="1462" y="412"/>
                  <a:pt x="1462" y="412"/>
                </a:cubicBezTo>
                <a:cubicBezTo>
                  <a:pt x="1482" y="429"/>
                  <a:pt x="1482" y="429"/>
                  <a:pt x="1482" y="429"/>
                </a:cubicBezTo>
                <a:cubicBezTo>
                  <a:pt x="1539" y="429"/>
                  <a:pt x="1539" y="429"/>
                  <a:pt x="1539" y="429"/>
                </a:cubicBezTo>
                <a:cubicBezTo>
                  <a:pt x="1553" y="415"/>
                  <a:pt x="1553" y="415"/>
                  <a:pt x="1553" y="415"/>
                </a:cubicBezTo>
                <a:cubicBezTo>
                  <a:pt x="1566" y="427"/>
                  <a:pt x="1566" y="427"/>
                  <a:pt x="1566" y="427"/>
                </a:cubicBezTo>
                <a:cubicBezTo>
                  <a:pt x="1588" y="427"/>
                  <a:pt x="1588" y="427"/>
                  <a:pt x="1588" y="427"/>
                </a:cubicBezTo>
                <a:cubicBezTo>
                  <a:pt x="1588" y="497"/>
                  <a:pt x="1588" y="497"/>
                  <a:pt x="1588" y="497"/>
                </a:cubicBezTo>
                <a:cubicBezTo>
                  <a:pt x="1624" y="497"/>
                  <a:pt x="1624" y="497"/>
                  <a:pt x="1624" y="497"/>
                </a:cubicBezTo>
                <a:cubicBezTo>
                  <a:pt x="1624" y="443"/>
                  <a:pt x="1624" y="443"/>
                  <a:pt x="1624" y="443"/>
                </a:cubicBezTo>
                <a:cubicBezTo>
                  <a:pt x="1603" y="443"/>
                  <a:pt x="1603" y="443"/>
                  <a:pt x="1603" y="443"/>
                </a:cubicBezTo>
                <a:cubicBezTo>
                  <a:pt x="1629" y="427"/>
                  <a:pt x="1629" y="427"/>
                  <a:pt x="1629" y="427"/>
                </a:cubicBezTo>
                <a:cubicBezTo>
                  <a:pt x="1629" y="406"/>
                  <a:pt x="1629" y="406"/>
                  <a:pt x="1629" y="406"/>
                </a:cubicBezTo>
                <a:cubicBezTo>
                  <a:pt x="1658" y="406"/>
                  <a:pt x="1658" y="406"/>
                  <a:pt x="1658" y="406"/>
                </a:cubicBezTo>
                <a:cubicBezTo>
                  <a:pt x="1677" y="390"/>
                  <a:pt x="1677" y="390"/>
                  <a:pt x="1677" y="390"/>
                </a:cubicBezTo>
                <a:cubicBezTo>
                  <a:pt x="1697" y="406"/>
                  <a:pt x="1697" y="406"/>
                  <a:pt x="1697" y="406"/>
                </a:cubicBezTo>
                <a:cubicBezTo>
                  <a:pt x="1727" y="406"/>
                  <a:pt x="1727" y="406"/>
                  <a:pt x="1727" y="406"/>
                </a:cubicBezTo>
                <a:cubicBezTo>
                  <a:pt x="1727" y="431"/>
                  <a:pt x="1727" y="431"/>
                  <a:pt x="1727" y="431"/>
                </a:cubicBezTo>
                <a:cubicBezTo>
                  <a:pt x="1747" y="431"/>
                  <a:pt x="1747" y="431"/>
                  <a:pt x="1747" y="431"/>
                </a:cubicBezTo>
                <a:cubicBezTo>
                  <a:pt x="1747" y="396"/>
                  <a:pt x="1747" y="396"/>
                  <a:pt x="1747" y="396"/>
                </a:cubicBezTo>
                <a:cubicBezTo>
                  <a:pt x="1768" y="375"/>
                  <a:pt x="1768" y="375"/>
                  <a:pt x="1768" y="375"/>
                </a:cubicBezTo>
                <a:cubicBezTo>
                  <a:pt x="1768" y="355"/>
                  <a:pt x="1768" y="355"/>
                  <a:pt x="1768" y="355"/>
                </a:cubicBezTo>
                <a:cubicBezTo>
                  <a:pt x="1793" y="355"/>
                  <a:pt x="1793" y="355"/>
                  <a:pt x="1793" y="355"/>
                </a:cubicBezTo>
                <a:cubicBezTo>
                  <a:pt x="1823" y="329"/>
                  <a:pt x="1823" y="329"/>
                  <a:pt x="1823" y="329"/>
                </a:cubicBezTo>
                <a:cubicBezTo>
                  <a:pt x="1926" y="329"/>
                  <a:pt x="1926" y="329"/>
                  <a:pt x="1926" y="329"/>
                </a:cubicBezTo>
                <a:cubicBezTo>
                  <a:pt x="1926" y="307"/>
                  <a:pt x="1926" y="307"/>
                  <a:pt x="1926" y="307"/>
                </a:cubicBezTo>
                <a:cubicBezTo>
                  <a:pt x="1918" y="307"/>
                  <a:pt x="1918" y="307"/>
                  <a:pt x="1918" y="307"/>
                </a:cubicBezTo>
                <a:cubicBezTo>
                  <a:pt x="1918" y="271"/>
                  <a:pt x="1918" y="271"/>
                  <a:pt x="1918" y="271"/>
                </a:cubicBezTo>
                <a:cubicBezTo>
                  <a:pt x="1928" y="271"/>
                  <a:pt x="1928" y="271"/>
                  <a:pt x="1928" y="271"/>
                </a:cubicBezTo>
                <a:cubicBezTo>
                  <a:pt x="1928" y="244"/>
                  <a:pt x="1928" y="244"/>
                  <a:pt x="1928" y="244"/>
                </a:cubicBezTo>
                <a:cubicBezTo>
                  <a:pt x="1937" y="244"/>
                  <a:pt x="1937" y="244"/>
                  <a:pt x="1937" y="244"/>
                </a:cubicBezTo>
                <a:cubicBezTo>
                  <a:pt x="1937" y="272"/>
                  <a:pt x="1937" y="272"/>
                  <a:pt x="1937" y="272"/>
                </a:cubicBezTo>
                <a:cubicBezTo>
                  <a:pt x="1947" y="272"/>
                  <a:pt x="1947" y="272"/>
                  <a:pt x="1947" y="272"/>
                </a:cubicBezTo>
                <a:cubicBezTo>
                  <a:pt x="1947" y="306"/>
                  <a:pt x="1947" y="306"/>
                  <a:pt x="1947" y="306"/>
                </a:cubicBezTo>
                <a:cubicBezTo>
                  <a:pt x="1940" y="306"/>
                  <a:pt x="1940" y="306"/>
                  <a:pt x="1940" y="306"/>
                </a:cubicBezTo>
                <a:cubicBezTo>
                  <a:pt x="1940" y="329"/>
                  <a:pt x="1940" y="329"/>
                  <a:pt x="1940" y="329"/>
                </a:cubicBezTo>
                <a:cubicBezTo>
                  <a:pt x="1966" y="329"/>
                  <a:pt x="1966" y="329"/>
                  <a:pt x="1966" y="329"/>
                </a:cubicBezTo>
                <a:cubicBezTo>
                  <a:pt x="1994" y="375"/>
                  <a:pt x="1994" y="375"/>
                  <a:pt x="1994" y="375"/>
                </a:cubicBezTo>
                <a:cubicBezTo>
                  <a:pt x="2054" y="375"/>
                  <a:pt x="2054" y="375"/>
                  <a:pt x="2054" y="375"/>
                </a:cubicBezTo>
                <a:cubicBezTo>
                  <a:pt x="2054" y="329"/>
                  <a:pt x="2054" y="329"/>
                  <a:pt x="2054" y="329"/>
                </a:cubicBezTo>
                <a:cubicBezTo>
                  <a:pt x="2074" y="321"/>
                  <a:pt x="2074" y="321"/>
                  <a:pt x="2074" y="321"/>
                </a:cubicBezTo>
                <a:cubicBezTo>
                  <a:pt x="2074" y="258"/>
                  <a:pt x="2074" y="258"/>
                  <a:pt x="2074" y="258"/>
                </a:cubicBezTo>
                <a:cubicBezTo>
                  <a:pt x="2082" y="258"/>
                  <a:pt x="2082" y="258"/>
                  <a:pt x="2082" y="258"/>
                </a:cubicBezTo>
                <a:cubicBezTo>
                  <a:pt x="2082" y="166"/>
                  <a:pt x="2082" y="166"/>
                  <a:pt x="2082" y="166"/>
                </a:cubicBezTo>
                <a:cubicBezTo>
                  <a:pt x="2091" y="166"/>
                  <a:pt x="2091" y="166"/>
                  <a:pt x="2091" y="166"/>
                </a:cubicBezTo>
                <a:cubicBezTo>
                  <a:pt x="2091" y="104"/>
                  <a:pt x="2091" y="104"/>
                  <a:pt x="2091" y="104"/>
                </a:cubicBezTo>
                <a:cubicBezTo>
                  <a:pt x="2103" y="104"/>
                  <a:pt x="2103" y="104"/>
                  <a:pt x="2103" y="104"/>
                </a:cubicBezTo>
                <a:cubicBezTo>
                  <a:pt x="2103" y="83"/>
                  <a:pt x="2103" y="83"/>
                  <a:pt x="2103" y="83"/>
                </a:cubicBezTo>
                <a:cubicBezTo>
                  <a:pt x="2103" y="83"/>
                  <a:pt x="2103" y="58"/>
                  <a:pt x="2129" y="58"/>
                </a:cubicBezTo>
                <a:cubicBezTo>
                  <a:pt x="2154" y="58"/>
                  <a:pt x="2156" y="83"/>
                  <a:pt x="2156" y="83"/>
                </a:cubicBezTo>
                <a:cubicBezTo>
                  <a:pt x="2156" y="104"/>
                  <a:pt x="2156" y="104"/>
                  <a:pt x="2156" y="104"/>
                </a:cubicBezTo>
                <a:cubicBezTo>
                  <a:pt x="2164" y="104"/>
                  <a:pt x="2164" y="104"/>
                  <a:pt x="2164" y="104"/>
                </a:cubicBezTo>
                <a:cubicBezTo>
                  <a:pt x="2164" y="164"/>
                  <a:pt x="2164" y="164"/>
                  <a:pt x="2164" y="164"/>
                </a:cubicBezTo>
                <a:cubicBezTo>
                  <a:pt x="2171" y="164"/>
                  <a:pt x="2171" y="164"/>
                  <a:pt x="2171" y="164"/>
                </a:cubicBezTo>
                <a:cubicBezTo>
                  <a:pt x="2171" y="257"/>
                  <a:pt x="2171" y="257"/>
                  <a:pt x="2171" y="257"/>
                </a:cubicBezTo>
                <a:cubicBezTo>
                  <a:pt x="2180" y="257"/>
                  <a:pt x="2180" y="257"/>
                  <a:pt x="2180" y="257"/>
                </a:cubicBezTo>
                <a:cubicBezTo>
                  <a:pt x="2180" y="164"/>
                  <a:pt x="2180" y="164"/>
                  <a:pt x="2180" y="164"/>
                </a:cubicBezTo>
                <a:cubicBezTo>
                  <a:pt x="2183" y="164"/>
                  <a:pt x="2183" y="164"/>
                  <a:pt x="2183" y="164"/>
                </a:cubicBezTo>
                <a:cubicBezTo>
                  <a:pt x="2183" y="104"/>
                  <a:pt x="2183" y="104"/>
                  <a:pt x="2183" y="104"/>
                </a:cubicBezTo>
                <a:cubicBezTo>
                  <a:pt x="2197" y="104"/>
                  <a:pt x="2197" y="104"/>
                  <a:pt x="2197" y="104"/>
                </a:cubicBezTo>
                <a:cubicBezTo>
                  <a:pt x="2197" y="83"/>
                  <a:pt x="2197" y="83"/>
                  <a:pt x="2197" y="83"/>
                </a:cubicBezTo>
                <a:cubicBezTo>
                  <a:pt x="2197" y="83"/>
                  <a:pt x="2197" y="58"/>
                  <a:pt x="2222" y="58"/>
                </a:cubicBezTo>
                <a:cubicBezTo>
                  <a:pt x="2248" y="58"/>
                  <a:pt x="2250" y="83"/>
                  <a:pt x="2250" y="83"/>
                </a:cubicBezTo>
                <a:cubicBezTo>
                  <a:pt x="2250" y="104"/>
                  <a:pt x="2250" y="104"/>
                  <a:pt x="2250" y="104"/>
                </a:cubicBezTo>
                <a:cubicBezTo>
                  <a:pt x="2256" y="104"/>
                  <a:pt x="2256" y="104"/>
                  <a:pt x="2256" y="104"/>
                </a:cubicBezTo>
                <a:cubicBezTo>
                  <a:pt x="2256" y="167"/>
                  <a:pt x="2256" y="167"/>
                  <a:pt x="2256" y="167"/>
                </a:cubicBezTo>
                <a:cubicBezTo>
                  <a:pt x="2264" y="167"/>
                  <a:pt x="2264" y="167"/>
                  <a:pt x="2264" y="167"/>
                </a:cubicBezTo>
                <a:cubicBezTo>
                  <a:pt x="2264" y="258"/>
                  <a:pt x="2264" y="258"/>
                  <a:pt x="2264" y="258"/>
                </a:cubicBezTo>
                <a:cubicBezTo>
                  <a:pt x="2406" y="258"/>
                  <a:pt x="2406" y="258"/>
                  <a:pt x="2406" y="258"/>
                </a:cubicBezTo>
                <a:cubicBezTo>
                  <a:pt x="2406" y="241"/>
                  <a:pt x="2406" y="241"/>
                  <a:pt x="2406" y="241"/>
                </a:cubicBezTo>
                <a:cubicBezTo>
                  <a:pt x="2396" y="241"/>
                  <a:pt x="2396" y="241"/>
                  <a:pt x="2396" y="241"/>
                </a:cubicBezTo>
                <a:cubicBezTo>
                  <a:pt x="2396" y="230"/>
                  <a:pt x="2396" y="230"/>
                  <a:pt x="2396" y="230"/>
                </a:cubicBezTo>
                <a:cubicBezTo>
                  <a:pt x="2406" y="230"/>
                  <a:pt x="2406" y="230"/>
                  <a:pt x="2406" y="230"/>
                </a:cubicBezTo>
                <a:cubicBezTo>
                  <a:pt x="2406" y="192"/>
                  <a:pt x="2406" y="192"/>
                  <a:pt x="2406" y="192"/>
                </a:cubicBezTo>
                <a:cubicBezTo>
                  <a:pt x="2413" y="192"/>
                  <a:pt x="2413" y="192"/>
                  <a:pt x="2413" y="192"/>
                </a:cubicBezTo>
                <a:cubicBezTo>
                  <a:pt x="2413" y="158"/>
                  <a:pt x="2413" y="158"/>
                  <a:pt x="2413" y="158"/>
                </a:cubicBezTo>
                <a:cubicBezTo>
                  <a:pt x="2413" y="150"/>
                  <a:pt x="2413" y="150"/>
                  <a:pt x="2413" y="150"/>
                </a:cubicBezTo>
                <a:cubicBezTo>
                  <a:pt x="2424" y="150"/>
                  <a:pt x="2424" y="150"/>
                  <a:pt x="2424" y="150"/>
                </a:cubicBezTo>
                <a:cubicBezTo>
                  <a:pt x="2424" y="192"/>
                  <a:pt x="2424" y="192"/>
                  <a:pt x="2424" y="192"/>
                </a:cubicBezTo>
                <a:cubicBezTo>
                  <a:pt x="2429" y="192"/>
                  <a:pt x="2429" y="192"/>
                  <a:pt x="2429" y="192"/>
                </a:cubicBezTo>
                <a:cubicBezTo>
                  <a:pt x="2429" y="230"/>
                  <a:pt x="2429" y="230"/>
                  <a:pt x="2429" y="230"/>
                </a:cubicBezTo>
                <a:cubicBezTo>
                  <a:pt x="2442" y="230"/>
                  <a:pt x="2442" y="230"/>
                  <a:pt x="2442" y="230"/>
                </a:cubicBezTo>
                <a:cubicBezTo>
                  <a:pt x="2442" y="241"/>
                  <a:pt x="2442" y="241"/>
                  <a:pt x="2442" y="241"/>
                </a:cubicBezTo>
                <a:cubicBezTo>
                  <a:pt x="2429" y="241"/>
                  <a:pt x="2429" y="241"/>
                  <a:pt x="2429" y="241"/>
                </a:cubicBezTo>
                <a:cubicBezTo>
                  <a:pt x="2429" y="258"/>
                  <a:pt x="2429" y="258"/>
                  <a:pt x="2429" y="258"/>
                </a:cubicBezTo>
                <a:cubicBezTo>
                  <a:pt x="2455" y="258"/>
                  <a:pt x="2455" y="258"/>
                  <a:pt x="2455" y="258"/>
                </a:cubicBezTo>
                <a:cubicBezTo>
                  <a:pt x="2482" y="286"/>
                  <a:pt x="2482" y="286"/>
                  <a:pt x="2482" y="286"/>
                </a:cubicBezTo>
                <a:cubicBezTo>
                  <a:pt x="2514" y="286"/>
                  <a:pt x="2514" y="286"/>
                  <a:pt x="2514" y="286"/>
                </a:cubicBezTo>
                <a:cubicBezTo>
                  <a:pt x="2514" y="333"/>
                  <a:pt x="2514" y="333"/>
                  <a:pt x="2514" y="333"/>
                </a:cubicBezTo>
                <a:cubicBezTo>
                  <a:pt x="2556" y="333"/>
                  <a:pt x="2556" y="333"/>
                  <a:pt x="2556" y="333"/>
                </a:cubicBezTo>
                <a:cubicBezTo>
                  <a:pt x="2556" y="363"/>
                  <a:pt x="2556" y="363"/>
                  <a:pt x="2556" y="363"/>
                </a:cubicBezTo>
                <a:cubicBezTo>
                  <a:pt x="2599" y="363"/>
                  <a:pt x="2599" y="363"/>
                  <a:pt x="2599" y="363"/>
                </a:cubicBezTo>
                <a:cubicBezTo>
                  <a:pt x="2599" y="343"/>
                  <a:pt x="2599" y="343"/>
                  <a:pt x="2599" y="343"/>
                </a:cubicBezTo>
                <a:cubicBezTo>
                  <a:pt x="2621" y="343"/>
                  <a:pt x="2621" y="343"/>
                  <a:pt x="2621" y="343"/>
                </a:cubicBezTo>
                <a:cubicBezTo>
                  <a:pt x="2673" y="391"/>
                  <a:pt x="2673" y="391"/>
                  <a:pt x="2673" y="391"/>
                </a:cubicBezTo>
                <a:cubicBezTo>
                  <a:pt x="2770" y="391"/>
                  <a:pt x="2770" y="391"/>
                  <a:pt x="2770" y="391"/>
                </a:cubicBezTo>
                <a:cubicBezTo>
                  <a:pt x="2770" y="363"/>
                  <a:pt x="2770" y="363"/>
                  <a:pt x="2770" y="363"/>
                </a:cubicBezTo>
                <a:cubicBezTo>
                  <a:pt x="2819" y="363"/>
                  <a:pt x="2819" y="363"/>
                  <a:pt x="2819" y="363"/>
                </a:cubicBezTo>
                <a:cubicBezTo>
                  <a:pt x="2819" y="453"/>
                  <a:pt x="2819" y="453"/>
                  <a:pt x="2819" y="453"/>
                </a:cubicBezTo>
                <a:cubicBezTo>
                  <a:pt x="2869" y="453"/>
                  <a:pt x="2869" y="453"/>
                  <a:pt x="2869" y="453"/>
                </a:cubicBezTo>
                <a:cubicBezTo>
                  <a:pt x="2869" y="423"/>
                  <a:pt x="2869" y="423"/>
                  <a:pt x="2869" y="423"/>
                </a:cubicBezTo>
                <a:cubicBezTo>
                  <a:pt x="2915" y="423"/>
                  <a:pt x="2915" y="423"/>
                  <a:pt x="2915" y="423"/>
                </a:cubicBezTo>
                <a:cubicBezTo>
                  <a:pt x="2915" y="545"/>
                  <a:pt x="2915" y="545"/>
                  <a:pt x="2915" y="545"/>
                </a:cubicBezTo>
                <a:cubicBezTo>
                  <a:pt x="1741" y="545"/>
                  <a:pt x="1741" y="545"/>
                  <a:pt x="1741" y="545"/>
                </a:cubicBezTo>
                <a:cubicBezTo>
                  <a:pt x="1741" y="527"/>
                  <a:pt x="1719" y="512"/>
                  <a:pt x="1692" y="512"/>
                </a:cubicBezTo>
                <a:cubicBezTo>
                  <a:pt x="1664" y="512"/>
                  <a:pt x="1642" y="527"/>
                  <a:pt x="1642" y="545"/>
                </a:cubicBezTo>
                <a:cubicBezTo>
                  <a:pt x="1630" y="545"/>
                  <a:pt x="1630" y="545"/>
                  <a:pt x="1630" y="545"/>
                </a:cubicBezTo>
                <a:cubicBezTo>
                  <a:pt x="1630" y="527"/>
                  <a:pt x="1607" y="512"/>
                  <a:pt x="1580" y="512"/>
                </a:cubicBezTo>
                <a:cubicBezTo>
                  <a:pt x="1553" y="512"/>
                  <a:pt x="1531" y="527"/>
                  <a:pt x="1531" y="545"/>
                </a:cubicBezTo>
                <a:cubicBezTo>
                  <a:pt x="1511" y="545"/>
                  <a:pt x="1511" y="545"/>
                  <a:pt x="1511" y="545"/>
                </a:cubicBezTo>
                <a:cubicBezTo>
                  <a:pt x="1511" y="527"/>
                  <a:pt x="1489" y="512"/>
                  <a:pt x="1462" y="512"/>
                </a:cubicBezTo>
                <a:cubicBezTo>
                  <a:pt x="1435" y="512"/>
                  <a:pt x="1413" y="527"/>
                  <a:pt x="1413" y="545"/>
                </a:cubicBezTo>
                <a:cubicBezTo>
                  <a:pt x="1399" y="545"/>
                  <a:pt x="1399" y="545"/>
                  <a:pt x="1399" y="545"/>
                </a:cubicBezTo>
                <a:cubicBezTo>
                  <a:pt x="1399" y="527"/>
                  <a:pt x="1377" y="512"/>
                  <a:pt x="1350" y="512"/>
                </a:cubicBezTo>
                <a:cubicBezTo>
                  <a:pt x="1323" y="512"/>
                  <a:pt x="1301" y="527"/>
                  <a:pt x="1301" y="545"/>
                </a:cubicBezTo>
                <a:cubicBezTo>
                  <a:pt x="0" y="545"/>
                  <a:pt x="0" y="545"/>
                  <a:pt x="0" y="545"/>
                </a:cubicBezTo>
                <a:cubicBezTo>
                  <a:pt x="0" y="29"/>
                  <a:pt x="0" y="29"/>
                  <a:pt x="0" y="29"/>
                </a:cubicBezTo>
                <a:cubicBezTo>
                  <a:pt x="84" y="106"/>
                  <a:pt x="84" y="106"/>
                  <a:pt x="84" y="106"/>
                </a:cubicBezTo>
                <a:cubicBezTo>
                  <a:pt x="93" y="100"/>
                  <a:pt x="93" y="100"/>
                  <a:pt x="93" y="100"/>
                </a:cubicBezTo>
                <a:cubicBezTo>
                  <a:pt x="122" y="152"/>
                  <a:pt x="122" y="152"/>
                  <a:pt x="122" y="152"/>
                </a:cubicBezTo>
                <a:cubicBezTo>
                  <a:pt x="141" y="144"/>
                  <a:pt x="141" y="144"/>
                  <a:pt x="141" y="144"/>
                </a:cubicBezTo>
                <a:cubicBezTo>
                  <a:pt x="170" y="171"/>
                  <a:pt x="170" y="171"/>
                  <a:pt x="170" y="171"/>
                </a:cubicBezTo>
                <a:cubicBezTo>
                  <a:pt x="187" y="171"/>
                  <a:pt x="187" y="171"/>
                  <a:pt x="187" y="171"/>
                </a:cubicBezTo>
                <a:cubicBezTo>
                  <a:pt x="241" y="148"/>
                  <a:pt x="241" y="148"/>
                  <a:pt x="241" y="148"/>
                </a:cubicBezTo>
                <a:cubicBezTo>
                  <a:pt x="290" y="148"/>
                  <a:pt x="290" y="148"/>
                  <a:pt x="290" y="148"/>
                </a:cubicBezTo>
                <a:cubicBezTo>
                  <a:pt x="309" y="130"/>
                  <a:pt x="309" y="130"/>
                  <a:pt x="309" y="130"/>
                </a:cubicBezTo>
                <a:cubicBezTo>
                  <a:pt x="340" y="187"/>
                  <a:pt x="340" y="187"/>
                  <a:pt x="340" y="187"/>
                </a:cubicBezTo>
                <a:cubicBezTo>
                  <a:pt x="410" y="162"/>
                  <a:pt x="410" y="162"/>
                  <a:pt x="410" y="162"/>
                </a:cubicBezTo>
                <a:lnTo>
                  <a:pt x="490" y="259"/>
                </a:lnTo>
                <a:close/>
              </a:path>
            </a:pathLst>
          </a:custGeom>
          <a:solidFill>
            <a:schemeClr val="tx1">
              <a:alpha val="2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spTree>
    <p:extLst>
      <p:ext uri="{BB962C8B-B14F-4D97-AF65-F5344CB8AC3E}">
        <p14:creationId xmlns:p14="http://schemas.microsoft.com/office/powerpoint/2010/main" val="2363796650"/>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97417052"/>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7" name="Bildplatzhalter 8"/>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black">
          <a:xfrm>
            <a:off x="1199456" y="333375"/>
            <a:ext cx="8208000" cy="323900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8" name="Text Placeholder 4">
            <a:extLst>
              <a:ext uri="{FF2B5EF4-FFF2-40B4-BE49-F238E27FC236}">
                <a16:creationId xmlns:a16="http://schemas.microsoft.com/office/drawing/2014/main" id="{E1DE48AB-B208-4189-8089-DC7BC55579D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C2 Internal</a:t>
            </a:r>
          </a:p>
        </p:txBody>
      </p:sp>
    </p:spTree>
    <p:extLst>
      <p:ext uri="{BB962C8B-B14F-4D97-AF65-F5344CB8AC3E}">
        <p14:creationId xmlns:p14="http://schemas.microsoft.com/office/powerpoint/2010/main" val="714825755"/>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7C4B535-EC52-4CF4-B9BE-3BC9700663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603279" y="1484313"/>
            <a:ext cx="8109296" cy="4897438"/>
          </a:xfrm>
          <a:prstGeom prst="rect">
            <a:avLst/>
          </a:prstGeom>
        </p:spPr>
      </p:pic>
      <p:pic>
        <p:nvPicPr>
          <p:cNvPr id="5" name="Picture 4">
            <a:extLst>
              <a:ext uri="{FF2B5EF4-FFF2-40B4-BE49-F238E27FC236}">
                <a16:creationId xmlns:a16="http://schemas.microsoft.com/office/drawing/2014/main" id="{D87113FC-C0DE-475B-B48F-F341EA6D3B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268689" y="5122052"/>
            <a:ext cx="234000" cy="1259276"/>
          </a:xfrm>
          <a:prstGeom prst="rect">
            <a:avLst/>
          </a:prstGeom>
        </p:spPr>
      </p:pic>
      <p:sp>
        <p:nvSpPr>
          <p:cNvPr id="2" name="Titel 1"/>
          <p:cNvSpPr>
            <a:spLocks noGrp="1"/>
          </p:cNvSpPr>
          <p:nvPr>
            <p:ph type="ctrTitle" hasCustomPrompt="1"/>
          </p:nvPr>
        </p:nvSpPr>
        <p:spPr bwMode="black">
          <a:xfrm>
            <a:off x="1199456" y="333375"/>
            <a:ext cx="8208000" cy="323892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912"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a:p>
            <a:endParaRPr lang="en-GB"/>
          </a:p>
        </p:txBody>
      </p:sp>
      <p:sp>
        <p:nvSpPr>
          <p:cNvPr id="6" name="Text Placeholder 4">
            <a:extLst>
              <a:ext uri="{FF2B5EF4-FFF2-40B4-BE49-F238E27FC236}">
                <a16:creationId xmlns:a16="http://schemas.microsoft.com/office/drawing/2014/main" id="{C88788FE-2FC8-4F5B-B883-59F33B86B1FA}"/>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C2 Internal</a:t>
            </a:r>
          </a:p>
        </p:txBody>
      </p:sp>
    </p:spTree>
    <p:extLst>
      <p:ext uri="{BB962C8B-B14F-4D97-AF65-F5344CB8AC3E}">
        <p14:creationId xmlns:p14="http://schemas.microsoft.com/office/powerpoint/2010/main" val="1547000075"/>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932D0D-2845-4C0F-8A35-71A52A42FF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12000" y="936000"/>
            <a:ext cx="9900000" cy="5568750"/>
          </a:xfrm>
          <a:prstGeom prst="rect">
            <a:avLst/>
          </a:prstGeom>
          <a:ln>
            <a:noFill/>
          </a:ln>
        </p:spPr>
      </p:pic>
      <p:sp>
        <p:nvSpPr>
          <p:cNvPr id="2" name="Titel 1"/>
          <p:cNvSpPr>
            <a:spLocks noGrp="1"/>
          </p:cNvSpPr>
          <p:nvPr>
            <p:ph type="title" hasCustomPrompt="1"/>
          </p:nvPr>
        </p:nvSpPr>
        <p:spPr bwMode="black">
          <a:xfrm>
            <a:off x="1199456" y="1484313"/>
            <a:ext cx="8208000" cy="2160711"/>
          </a:xfrm>
        </p:spPr>
        <p:txBody>
          <a:bodyPr lIns="0" tIns="0" bIns="50400" anchor="b"/>
          <a:lstStyle>
            <a:lvl1pPr>
              <a:lnSpc>
                <a:spcPct val="90000"/>
              </a:lnSpc>
              <a:defRPr sz="4400" b="1" spc="-50" baseline="0">
                <a:solidFill>
                  <a:schemeClr val="bg2"/>
                </a:solidFill>
                <a:latin typeface="+mj-lt"/>
              </a:defRPr>
            </a:lvl1pPr>
          </a:lstStyle>
          <a:p>
            <a:r>
              <a:rPr lang="en-GB"/>
              <a:t>Divider</a:t>
            </a:r>
          </a:p>
        </p:txBody>
      </p:sp>
      <p:sp>
        <p:nvSpPr>
          <p:cNvPr id="3" name="Textplatzhalter 2"/>
          <p:cNvSpPr>
            <a:spLocks noGrp="1"/>
          </p:cNvSpPr>
          <p:nvPr>
            <p:ph type="body" idx="1" hasCustomPrompt="1"/>
          </p:nvPr>
        </p:nvSpPr>
        <p:spPr bwMode="black">
          <a:xfrm>
            <a:off x="1200026" y="3717032"/>
            <a:ext cx="8208000" cy="1872556"/>
          </a:xfrm>
        </p:spPr>
        <p:txBody>
          <a:bodyPr lIns="0"/>
          <a:lstStyle>
            <a:lvl1pPr marL="0" indent="0">
              <a:lnSpc>
                <a:spcPct val="110000"/>
              </a:lnSpc>
              <a:spcBef>
                <a:spcPts val="0"/>
              </a:spcBef>
              <a:spcAft>
                <a:spcPts val="0"/>
              </a:spcAft>
              <a:buNone/>
              <a:defRPr sz="2000" b="0" spc="-50" baseline="0">
                <a:solidFill>
                  <a:schemeClr val="bg2"/>
                </a:solidFill>
                <a:latin typeface="+mn-lt"/>
              </a:defRPr>
            </a:lvl1pPr>
            <a:lvl2pPr marL="0" indent="0">
              <a:lnSpc>
                <a:spcPct val="110000"/>
              </a:lnSpc>
              <a:spcBef>
                <a:spcPts val="0"/>
              </a:spcBef>
              <a:spcAft>
                <a:spcPts val="0"/>
              </a:spcAft>
              <a:buNone/>
              <a:defRPr sz="2000" b="0" spc="-50" baseline="0">
                <a:solidFill>
                  <a:schemeClr val="bg2"/>
                </a:solidFill>
                <a:latin typeface="+mn-lt"/>
              </a:defRPr>
            </a:lvl2pPr>
            <a:lvl3pPr marL="0" indent="0">
              <a:lnSpc>
                <a:spcPct val="110000"/>
              </a:lnSpc>
              <a:spcBef>
                <a:spcPts val="0"/>
              </a:spcBef>
              <a:spcAft>
                <a:spcPts val="0"/>
              </a:spcAft>
              <a:buNone/>
              <a:defRPr sz="2000" b="0" spc="-50" baseline="0">
                <a:solidFill>
                  <a:schemeClr val="bg2"/>
                </a:solidFill>
                <a:latin typeface="+mn-lt"/>
              </a:defRPr>
            </a:lvl3pPr>
            <a:lvl4pPr marL="0" indent="0">
              <a:lnSpc>
                <a:spcPct val="110000"/>
              </a:lnSpc>
              <a:spcBef>
                <a:spcPts val="0"/>
              </a:spcBef>
              <a:spcAft>
                <a:spcPts val="0"/>
              </a:spcAft>
              <a:buNone/>
              <a:defRPr sz="2000" b="0" spc="-50" baseline="0">
                <a:solidFill>
                  <a:schemeClr val="bg2"/>
                </a:solidFill>
                <a:latin typeface="+mn-lt"/>
              </a:defRPr>
            </a:lvl4pPr>
            <a:lvl5pPr marL="0" indent="0">
              <a:lnSpc>
                <a:spcPct val="110000"/>
              </a:lnSpc>
              <a:spcBef>
                <a:spcPts val="0"/>
              </a:spcBef>
              <a:spcAft>
                <a:spcPts val="0"/>
              </a:spcAft>
              <a:buNone/>
              <a:defRPr sz="2000" b="0" spc="-50" baseline="0">
                <a:solidFill>
                  <a:schemeClr val="bg2"/>
                </a:solidFill>
                <a:latin typeface="+mn-lt"/>
              </a:defRPr>
            </a:lvl5pPr>
            <a:lvl6pPr marL="0" indent="0">
              <a:lnSpc>
                <a:spcPct val="110000"/>
              </a:lnSpc>
              <a:spcBef>
                <a:spcPts val="0"/>
              </a:spcBef>
              <a:spcAft>
                <a:spcPts val="0"/>
              </a:spcAft>
              <a:buNone/>
              <a:defRPr sz="2000" b="0" spc="-50" baseline="0">
                <a:solidFill>
                  <a:schemeClr val="bg2"/>
                </a:solidFill>
                <a:latin typeface="+mn-lt"/>
              </a:defRPr>
            </a:lvl6pPr>
            <a:lvl7pPr marL="0" indent="0">
              <a:lnSpc>
                <a:spcPct val="110000"/>
              </a:lnSpc>
              <a:spcBef>
                <a:spcPts val="0"/>
              </a:spcBef>
              <a:spcAft>
                <a:spcPts val="0"/>
              </a:spcAft>
              <a:buNone/>
              <a:defRPr sz="2000" b="0" spc="-50" baseline="0">
                <a:solidFill>
                  <a:schemeClr val="bg2"/>
                </a:solidFill>
                <a:latin typeface="+mn-lt"/>
              </a:defRPr>
            </a:lvl7pPr>
            <a:lvl8pPr marL="0" indent="0">
              <a:lnSpc>
                <a:spcPct val="110000"/>
              </a:lnSpc>
              <a:spcBef>
                <a:spcPts val="0"/>
              </a:spcBef>
              <a:spcAft>
                <a:spcPts val="0"/>
              </a:spcAft>
              <a:buNone/>
              <a:defRPr sz="2000" b="0" spc="-50" baseline="0">
                <a:solidFill>
                  <a:schemeClr val="bg2"/>
                </a:solidFill>
                <a:latin typeface="+mn-lt"/>
              </a:defRPr>
            </a:lvl8pPr>
            <a:lvl9pPr marL="0" indent="0">
              <a:lnSpc>
                <a:spcPct val="110000"/>
              </a:lnSpc>
              <a:spcBef>
                <a:spcPts val="0"/>
              </a:spcBef>
              <a:spcAft>
                <a:spcPts val="0"/>
              </a:spcAft>
              <a:buNone/>
              <a:defRPr sz="2000" b="0" spc="-50" baseline="0">
                <a:solidFill>
                  <a:schemeClr val="bg2"/>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a:xfrm rot="16200000">
            <a:off x="-1645334" y="3392999"/>
            <a:ext cx="4105278" cy="287903"/>
          </a:xfrm>
        </p:spPr>
        <p:txBody>
          <a:bodyPr/>
          <a:lstStyle>
            <a:lvl1pPr>
              <a:defRPr>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tx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3053844222"/>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vider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 name="Titel 1"/>
          <p:cNvSpPr>
            <a:spLocks noGrp="1"/>
          </p:cNvSpPr>
          <p:nvPr>
            <p:ph type="title" hasCustomPrompt="1"/>
          </p:nvPr>
        </p:nvSpPr>
        <p:spPr bwMode="gray">
          <a:xfrm>
            <a:off x="1199456" y="1484313"/>
            <a:ext cx="8208000" cy="2160711"/>
          </a:xfrm>
        </p:spPr>
        <p:txBody>
          <a:bodyPr tIns="0" bIns="50400" anchor="b"/>
          <a:lstStyle>
            <a:lvl1pPr>
              <a:lnSpc>
                <a:spcPct val="90000"/>
              </a:lnSpc>
              <a:defRPr sz="4400" b="1" spc="-50" baseline="0">
                <a:solidFill>
                  <a:schemeClr val="bg1"/>
                </a:solidFill>
                <a:latin typeface="+mj-lt"/>
              </a:defRPr>
            </a:lvl1pPr>
          </a:lstStyle>
          <a:p>
            <a:r>
              <a:rPr lang="en-GB"/>
              <a:t>Divider</a:t>
            </a:r>
          </a:p>
        </p:txBody>
      </p:sp>
      <p:sp>
        <p:nvSpPr>
          <p:cNvPr id="3" name="Textplatzhalter 2"/>
          <p:cNvSpPr>
            <a:spLocks noGrp="1"/>
          </p:cNvSpPr>
          <p:nvPr>
            <p:ph type="body" idx="1" hasCustomPrompt="1"/>
          </p:nvPr>
        </p:nvSpPr>
        <p:spPr bwMode="gray">
          <a:xfrm>
            <a:off x="1200026" y="3717032"/>
            <a:ext cx="8208000" cy="1872208"/>
          </a:xfrm>
        </p:spPr>
        <p:txBody>
          <a:bodyPr/>
          <a:lstStyle>
            <a:lvl1pPr marL="0" indent="0">
              <a:spcBef>
                <a:spcPts val="0"/>
              </a:spcBef>
              <a:spcAft>
                <a:spcPts val="0"/>
              </a:spcAft>
              <a:buNone/>
              <a:defRPr sz="2000" b="0" spc="-50" baseline="0">
                <a:solidFill>
                  <a:schemeClr val="bg1"/>
                </a:solidFill>
                <a:latin typeface="+mn-lt"/>
              </a:defRPr>
            </a:lvl1pPr>
            <a:lvl2pPr marL="0" indent="0">
              <a:spcBef>
                <a:spcPts val="0"/>
              </a:spcBef>
              <a:spcAft>
                <a:spcPts val="0"/>
              </a:spcAft>
              <a:buNone/>
              <a:defRPr sz="2000" b="0" spc="-50" baseline="0">
                <a:solidFill>
                  <a:schemeClr val="bg1"/>
                </a:solidFill>
                <a:latin typeface="+mn-lt"/>
              </a:defRPr>
            </a:lvl2pPr>
            <a:lvl3pPr marL="0" indent="0">
              <a:spcBef>
                <a:spcPts val="0"/>
              </a:spcBef>
              <a:spcAft>
                <a:spcPts val="0"/>
              </a:spcAft>
              <a:buNone/>
              <a:defRPr sz="2000" b="0" spc="-50" baseline="0">
                <a:solidFill>
                  <a:schemeClr val="bg1"/>
                </a:solidFill>
                <a:latin typeface="+mn-lt"/>
              </a:defRPr>
            </a:lvl3pPr>
            <a:lvl4pPr marL="0" indent="0">
              <a:spcBef>
                <a:spcPts val="0"/>
              </a:spcBef>
              <a:spcAft>
                <a:spcPts val="0"/>
              </a:spcAft>
              <a:buNone/>
              <a:defRPr sz="2000" b="0" spc="-50" baseline="0">
                <a:solidFill>
                  <a:schemeClr val="bg1"/>
                </a:solidFill>
                <a:latin typeface="+mn-lt"/>
              </a:defRPr>
            </a:lvl4pPr>
            <a:lvl5pPr marL="0" indent="0">
              <a:spcBef>
                <a:spcPts val="0"/>
              </a:spcBef>
              <a:spcAft>
                <a:spcPts val="0"/>
              </a:spcAft>
              <a:buNone/>
              <a:defRPr sz="2000" b="0" spc="-50" baseline="0">
                <a:solidFill>
                  <a:schemeClr val="bg1"/>
                </a:solidFill>
                <a:latin typeface="+mn-lt"/>
              </a:defRPr>
            </a:lvl5pPr>
            <a:lvl6pPr marL="0" indent="0">
              <a:spcBef>
                <a:spcPts val="0"/>
              </a:spcBef>
              <a:spcAft>
                <a:spcPts val="0"/>
              </a:spcAft>
              <a:buNone/>
              <a:defRPr sz="2000" b="0" spc="-50" baseline="0">
                <a:solidFill>
                  <a:schemeClr val="bg1"/>
                </a:solidFill>
                <a:latin typeface="+mn-lt"/>
              </a:defRPr>
            </a:lvl6pPr>
            <a:lvl7pPr marL="0" indent="0">
              <a:spcBef>
                <a:spcPts val="0"/>
              </a:spcBef>
              <a:spcAft>
                <a:spcPts val="0"/>
              </a:spcAft>
              <a:buNone/>
              <a:defRPr sz="2000" b="0" spc="-50" baseline="0">
                <a:solidFill>
                  <a:schemeClr val="bg1"/>
                </a:solidFill>
                <a:latin typeface="+mn-lt"/>
              </a:defRPr>
            </a:lvl7pPr>
            <a:lvl8pPr marL="0" indent="0">
              <a:spcBef>
                <a:spcPts val="0"/>
              </a:spcBef>
              <a:spcAft>
                <a:spcPts val="0"/>
              </a:spcAft>
              <a:buNone/>
              <a:defRPr sz="2000" b="0" spc="-50" baseline="0">
                <a:solidFill>
                  <a:schemeClr val="bg1"/>
                </a:solidFill>
                <a:latin typeface="+mn-lt"/>
              </a:defRPr>
            </a:lvl8pPr>
            <a:lvl9pPr marL="0" indent="0">
              <a:spcBef>
                <a:spcPts val="0"/>
              </a:spcBef>
              <a:spcAft>
                <a:spcPts val="0"/>
              </a:spcAft>
              <a:buNone/>
              <a:defRPr sz="2000" b="0" spc="-50" baseline="0">
                <a:solidFill>
                  <a:schemeClr val="bg1"/>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pic>
        <p:nvPicPr>
          <p:cNvPr id="9" name="Picture 8">
            <a:extLst>
              <a:ext uri="{FF2B5EF4-FFF2-40B4-BE49-F238E27FC236}">
                <a16:creationId xmlns:a16="http://schemas.microsoft.com/office/drawing/2014/main" id="{3105E948-0429-4BA5-BE6A-0FB567FE170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2651080222"/>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orking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
        <p:nvSpPr>
          <p:cNvPr id="13" name="Inhaltsplatzhalter 2">
            <a:extLst>
              <a:ext uri="{FF2B5EF4-FFF2-40B4-BE49-F238E27FC236}">
                <a16:creationId xmlns:a16="http://schemas.microsoft.com/office/drawing/2014/main" id="{56772B1F-B86A-452C-8BEE-2355B59EA550}"/>
              </a:ext>
            </a:extLst>
          </p:cNvPr>
          <p:cNvSpPr>
            <a:spLocks noGrp="1"/>
          </p:cNvSpPr>
          <p:nvPr>
            <p:ph idx="16" hasCustomPrompt="1"/>
          </p:nvPr>
        </p:nvSpPr>
        <p:spPr bwMode="black">
          <a:xfrm>
            <a:off x="66000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3392923204"/>
      </p:ext>
    </p:extLst>
  </p:cSld>
  <p:clrMapOvr>
    <a:masterClrMapping/>
  </p:clrMapOvr>
  <p:extLst>
    <p:ext uri="{DCECCB84-F9BA-43D5-87BE-67443E8EF086}">
      <p15:sldGuideLst xmlns:p15="http://schemas.microsoft.com/office/powerpoint/2012/main">
        <p15:guide id="1" pos="3976">
          <p15:clr>
            <a:srgbClr val="547EBF"/>
          </p15:clr>
        </p15:guide>
        <p15:guide id="2" pos="4158">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orking | Content Pictur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3940"/>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5112000" cy="720000"/>
          </a:xfrm>
        </p:spPr>
        <p:txBody>
          <a:bodyPr tIns="28800"/>
          <a:lstStyle>
            <a:lvl1pPr>
              <a:defRPr/>
            </a:lvl1pPr>
          </a:lstStyle>
          <a:p>
            <a:r>
              <a:rPr lang="en-GB"/>
              <a:t>Click to edit title</a:t>
            </a:r>
          </a:p>
        </p:txBody>
      </p:sp>
      <p:sp>
        <p:nvSpPr>
          <p:cNvPr id="14" name="Bildplatzhalter 8">
            <a:extLst>
              <a:ext uri="{FF2B5EF4-FFF2-40B4-BE49-F238E27FC236}">
                <a16:creationId xmlns:a16="http://schemas.microsoft.com/office/drawing/2014/main" id="{09E298D1-1B8A-48BA-B429-C8DD2EAF64A9}"/>
              </a:ext>
            </a:extLst>
          </p:cNvPr>
          <p:cNvSpPr>
            <a:spLocks noGrp="1"/>
          </p:cNvSpPr>
          <p:nvPr>
            <p:ph type="pic" sz="quarter" idx="13" hasCustomPrompt="1"/>
          </p:nvPr>
        </p:nvSpPr>
        <p:spPr bwMode="gray">
          <a:xfrm>
            <a:off x="6600825" y="0"/>
            <a:ext cx="5591175"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Tree>
    <p:extLst>
      <p:ext uri="{BB962C8B-B14F-4D97-AF65-F5344CB8AC3E}">
        <p14:creationId xmlns:p14="http://schemas.microsoft.com/office/powerpoint/2010/main" val="3115227788"/>
      </p:ext>
    </p:extLst>
  </p:cSld>
  <p:clrMapOvr>
    <a:masterClrMapping/>
  </p:clrMapOvr>
  <p:extLst>
    <p:ext uri="{DCECCB84-F9BA-43D5-87BE-67443E8EF086}">
      <p15:sldGuideLst xmlns:p15="http://schemas.microsoft.com/office/powerpoint/2012/main">
        <p15:guide id="2" pos="3976">
          <p15:clr>
            <a:srgbClr val="547EBF"/>
          </p15:clr>
        </p15:guide>
        <p15:guide id="3" pos="4158">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resentation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5" y="3716610"/>
            <a:ext cx="105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4"/>
            <a:endParaRPr lang="en-GB"/>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2348880"/>
            <a:ext cx="10512000" cy="1224136"/>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1230846564"/>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2341">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resentation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0"/>
            <a:endParaRPr lang="en-GB"/>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8" y="2348880"/>
            <a:ext cx="5112000" cy="1223714"/>
          </a:xfrm>
        </p:spPr>
        <p:txBody>
          <a:bodyPr bIns="28800" anchor="b"/>
          <a:lstStyle>
            <a:lvl1pPr>
              <a:lnSpc>
                <a:spcPct val="90000"/>
              </a:lnSpc>
              <a:defRPr sz="3200" spc="-50" baseline="0">
                <a:latin typeface="+mj-lt"/>
              </a:defRPr>
            </a:lvl1pPr>
          </a:lstStyle>
          <a:p>
            <a:r>
              <a:rPr lang="en-GB"/>
              <a:t>Click to edit title</a:t>
            </a:r>
          </a:p>
        </p:txBody>
      </p:sp>
      <p:sp>
        <p:nvSpPr>
          <p:cNvPr id="9" name="Inhaltsplatzhalter 2">
            <a:extLst>
              <a:ext uri="{FF2B5EF4-FFF2-40B4-BE49-F238E27FC236}">
                <a16:creationId xmlns:a16="http://schemas.microsoft.com/office/drawing/2014/main" id="{461ED10A-0495-4A89-BA52-79C00234B56E}"/>
              </a:ext>
            </a:extLst>
          </p:cNvPr>
          <p:cNvSpPr>
            <a:spLocks noGrp="1"/>
          </p:cNvSpPr>
          <p:nvPr>
            <p:ph idx="16" hasCustomPrompt="1"/>
          </p:nvPr>
        </p:nvSpPr>
        <p:spPr bwMode="gray">
          <a:xfrm>
            <a:off x="6600825" y="0"/>
            <a:ext cx="5591175" cy="6858000"/>
          </a:xfrm>
          <a:noFill/>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 </a:t>
            </a:r>
          </a:p>
        </p:txBody>
      </p:sp>
    </p:spTree>
    <p:extLst>
      <p:ext uri="{BB962C8B-B14F-4D97-AF65-F5344CB8AC3E}">
        <p14:creationId xmlns:p14="http://schemas.microsoft.com/office/powerpoint/2010/main" val="4200558410"/>
      </p:ext>
    </p:extLst>
  </p:cSld>
  <p:clrMapOvr>
    <a:masterClrMapping/>
  </p:clrMapOvr>
  <p:extLst>
    <p:ext uri="{DCECCB84-F9BA-43D5-87BE-67443E8EF086}">
      <p15:sldGuideLst xmlns:p15="http://schemas.microsoft.com/office/powerpoint/2012/main">
        <p15:guide id="1" orient="horz" pos="2160">
          <p15:clr>
            <a:srgbClr val="547EBF"/>
          </p15:clr>
        </p15:guide>
        <p15:guide id="2" pos="3976">
          <p15:clr>
            <a:srgbClr val="547EBF"/>
          </p15:clr>
        </p15:guide>
        <p15:guide id="3" pos="4158">
          <p15:clr>
            <a:srgbClr val="547EBF"/>
          </p15:clr>
        </p15:guide>
        <p15:guide id="4" orient="horz" pos="2337">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resentation | Content Picture">
    <p:spTree>
      <p:nvGrpSpPr>
        <p:cNvPr id="1" name=""/>
        <p:cNvGrpSpPr/>
        <p:nvPr/>
      </p:nvGrpSpPr>
      <p:grpSpPr>
        <a:xfrm>
          <a:off x="0" y="0"/>
          <a:ext cx="0" cy="0"/>
          <a:chOff x="0" y="0"/>
          <a:chExt cx="0" cy="0"/>
        </a:xfrm>
      </p:grpSpPr>
      <p:sp>
        <p:nvSpPr>
          <p:cNvPr id="7" name="Bildplatzhalter 8">
            <a:extLst>
              <a:ext uri="{FF2B5EF4-FFF2-40B4-BE49-F238E27FC236}">
                <a16:creationId xmlns:a16="http://schemas.microsoft.com/office/drawing/2014/main" id="{2E310726-F0F9-435D-B724-F278EC72901D}"/>
              </a:ext>
            </a:extLst>
          </p:cNvPr>
          <p:cNvSpPr>
            <a:spLocks noGrp="1"/>
          </p:cNvSpPr>
          <p:nvPr>
            <p:ph type="pic" sz="quarter" idx="13" hasCustomPrompt="1"/>
          </p:nvPr>
        </p:nvSpPr>
        <p:spPr bwMode="gray">
          <a:xfrm>
            <a:off x="1199456" y="0"/>
            <a:ext cx="4536504"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3" name="Inhaltsplatzhalter 2"/>
          <p:cNvSpPr>
            <a:spLocks noGrp="1"/>
          </p:cNvSpPr>
          <p:nvPr>
            <p:ph idx="1" hasCustomPrompt="1"/>
          </p:nvPr>
        </p:nvSpPr>
        <p:spPr bwMode="black">
          <a:xfrm>
            <a:off x="66000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6600057" y="2348880"/>
            <a:ext cx="5112000" cy="1223714"/>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4019595599"/>
      </p:ext>
    </p:extLst>
  </p:cSld>
  <p:clrMapOvr>
    <a:masterClrMapping/>
  </p:clrMapOvr>
  <p:extLst>
    <p:ext uri="{DCECCB84-F9BA-43D5-87BE-67443E8EF086}">
      <p15:sldGuideLst xmlns:p15="http://schemas.microsoft.com/office/powerpoint/2012/main">
        <p15:guide id="1" orient="horz" pos="2160">
          <p15:clr>
            <a:srgbClr val="547EBF"/>
          </p15:clr>
        </p15:guide>
        <p15:guide id="2" pos="4158">
          <p15:clr>
            <a:srgbClr val="547EBF"/>
          </p15:clr>
        </p15:guide>
        <p15:guide id="3" pos="3613">
          <p15:clr>
            <a:srgbClr val="547EBF"/>
          </p15:clr>
        </p15:guide>
        <p15:guide id="4" orient="horz" pos="2341">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5.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image" Target="../media/image5.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tags" Target="../tags/tag6.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1.png"/><Relationship Id="rId5" Type="http://schemas.openxmlformats.org/officeDocument/2006/relationships/slideLayout" Target="../slideLayouts/slideLayout34.xml"/><Relationship Id="rId10" Type="http://schemas.openxmlformats.org/officeDocument/2006/relationships/theme" Target="../theme/theme3.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ags" Target="../tags/tag1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ags" Target="../tags/tag11.xml"/><Relationship Id="rId2" Type="http://schemas.openxmlformats.org/officeDocument/2006/relationships/slideLayout" Target="../slideLayouts/slideLayout51.xml"/><Relationship Id="rId16" Type="http://schemas.openxmlformats.org/officeDocument/2006/relationships/theme" Target="../theme/theme5.xml"/><Relationship Id="rId20" Type="http://schemas.openxmlformats.org/officeDocument/2006/relationships/image" Target="../media/image5.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ags" Target="../tags/tag1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image" Target="../media/image1.png"/><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1.png"/><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7.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image" Target="../media/image11.png"/><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 Type="http://schemas.openxmlformats.org/officeDocument/2006/relationships/slideLayout" Target="../slideLayouts/slideLayout112.xml"/><Relationship Id="rId21" Type="http://schemas.openxmlformats.org/officeDocument/2006/relationships/image" Target="../media/image11.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theme" Target="../theme/theme9.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81"/>
            <a:ext cx="10464800" cy="1098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45720" rIns="91440" bIns="45720" numCol="1" anchor="ctr" anchorCtr="0" compatLnSpc="1">
            <a:prstTxWarp prst="textNoShape">
              <a:avLst/>
            </a:prstTxWarp>
          </a:bodyPr>
          <a:lstStyle/>
          <a:p>
            <a:pPr lvl="0"/>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1027" name="Rectangle 3"/>
          <p:cNvSpPr>
            <a:spLocks noGrp="1" noChangeArrowheads="1"/>
          </p:cNvSpPr>
          <p:nvPr>
            <p:ph type="body" idx="1"/>
          </p:nvPr>
        </p:nvSpPr>
        <p:spPr bwMode="auto">
          <a:xfrm>
            <a:off x="1221318" y="1771652"/>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GB" err="1"/>
              <a:t>Textmasterformate</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1028" name="Rectangle 4"/>
          <p:cNvSpPr>
            <a:spLocks noGrp="1" noChangeArrowheads="1"/>
          </p:cNvSpPr>
          <p:nvPr>
            <p:ph type="dt" sz="half" idx="2"/>
          </p:nvPr>
        </p:nvSpPr>
        <p:spPr bwMode="auto">
          <a:xfrm rot="-5400000">
            <a:off x="11445885" y="1698106"/>
            <a:ext cx="628651"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91440" bIns="0" numCol="1" anchor="t" anchorCtr="0" compatLnSpc="1">
            <a:prstTxWarp prst="textNoShape">
              <a:avLst/>
            </a:prstTxWarp>
          </a:bodyPr>
          <a:lstStyle>
            <a:lvl1pPr algn="ctr">
              <a:defRPr sz="700">
                <a:solidFill>
                  <a:srgbClr val="001155"/>
                </a:solidFill>
                <a:latin typeface="TheSans Swisscom" pitchFamily="34" charset="0"/>
                <a:ea typeface="+mn-ea"/>
                <a:cs typeface="ＭＳ Ｐゴシック" charset="0"/>
              </a:defRPr>
            </a:lvl1pPr>
          </a:lstStyle>
          <a:p>
            <a:pPr fontAlgn="base">
              <a:spcBef>
                <a:spcPct val="0"/>
              </a:spcBef>
              <a:spcAft>
                <a:spcPct val="0"/>
              </a:spcAft>
              <a:defRPr/>
            </a:pPr>
            <a:fld id="{6F4A296A-FCD9-4E8B-87D7-D427D99016DA}" type="datetime1">
              <a:rPr lang="de-CH"/>
              <a:pPr fontAlgn="base">
                <a:spcBef>
                  <a:spcPct val="0"/>
                </a:spcBef>
                <a:spcAft>
                  <a:spcPct val="0"/>
                </a:spcAft>
                <a:defRPr/>
              </a:pPr>
              <a:t>21.03.2024</a:t>
            </a:fld>
            <a:endParaRPr lang="en-GB"/>
          </a:p>
        </p:txBody>
      </p:sp>
      <p:sp>
        <p:nvSpPr>
          <p:cNvPr id="1030" name="Rectangle 6"/>
          <p:cNvSpPr>
            <a:spLocks noGrp="1" noChangeArrowheads="1"/>
          </p:cNvSpPr>
          <p:nvPr>
            <p:ph type="sldNum" sz="quarter" idx="4"/>
          </p:nvPr>
        </p:nvSpPr>
        <p:spPr bwMode="auto">
          <a:xfrm>
            <a:off x="11567604" y="1196978"/>
            <a:ext cx="385233" cy="196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lvl1pPr>
              <a:defRPr sz="700">
                <a:solidFill>
                  <a:srgbClr val="001155"/>
                </a:solidFill>
              </a:defRPr>
            </a:lvl1pPr>
          </a:lstStyle>
          <a:p>
            <a:pPr fontAlgn="base">
              <a:spcBef>
                <a:spcPct val="0"/>
              </a:spcBef>
              <a:spcAft>
                <a:spcPct val="0"/>
              </a:spcAft>
            </a:pPr>
            <a:fld id="{B9D7A184-6BD2-45A8-951B-C16D34E4ECA7}" type="slidenum">
              <a:rPr lang="en-GB" altLang="de-DE"/>
              <a:pPr fontAlgn="base">
                <a:spcBef>
                  <a:spcPct val="0"/>
                </a:spcBef>
                <a:spcAft>
                  <a:spcPct val="0"/>
                </a:spcAft>
              </a:pPr>
              <a:t>‹#›</a:t>
            </a:fld>
            <a:endParaRPr lang="en-GB" altLang="de-DE"/>
          </a:p>
        </p:txBody>
      </p:sp>
      <p:sp>
        <p:nvSpPr>
          <p:cNvPr id="1032" name="Line 8"/>
          <p:cNvSpPr>
            <a:spLocks noChangeShapeType="1"/>
          </p:cNvSpPr>
          <p:nvPr/>
        </p:nvSpPr>
        <p:spPr bwMode="auto">
          <a:xfrm>
            <a:off x="1221318" y="1390651"/>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3" name="Line 9"/>
          <p:cNvSpPr>
            <a:spLocks noChangeShapeType="1"/>
          </p:cNvSpPr>
          <p:nvPr/>
        </p:nvSpPr>
        <p:spPr bwMode="auto">
          <a:xfrm>
            <a:off x="11567604"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7" name="Line 13"/>
          <p:cNvSpPr>
            <a:spLocks noChangeShapeType="1"/>
          </p:cNvSpPr>
          <p:nvPr/>
        </p:nvSpPr>
        <p:spPr bwMode="auto">
          <a:xfrm>
            <a:off x="11567604" y="5481639"/>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40" name="Rectangle 16"/>
          <p:cNvSpPr>
            <a:spLocks noGrp="1" noChangeArrowheads="1"/>
          </p:cNvSpPr>
          <p:nvPr>
            <p:ph type="ftr" sz="quarter" idx="3"/>
          </p:nvPr>
        </p:nvSpPr>
        <p:spPr bwMode="auto">
          <a:xfrm rot="-5400000">
            <a:off x="10284629" y="3632475"/>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lvl1pPr algn="r">
              <a:defRPr sz="700">
                <a:solidFill>
                  <a:srgbClr val="001155"/>
                </a:solidFill>
                <a:latin typeface="TheSans Swisscom" pitchFamily="34" charset="0"/>
                <a:ea typeface="+mn-ea"/>
                <a:cs typeface="ＭＳ Ｐゴシック" charset="0"/>
              </a:defRPr>
            </a:lvl1pPr>
          </a:lstStyle>
          <a:p>
            <a:pPr fontAlgn="base">
              <a:spcBef>
                <a:spcPct val="0"/>
              </a:spcBef>
              <a:spcAft>
                <a:spcPct val="0"/>
              </a:spcAft>
              <a:defRPr/>
            </a:pPr>
            <a:r>
              <a:rPr lang="en-GB"/>
              <a:t>Swisscom Cloud </a:t>
            </a:r>
          </a:p>
        </p:txBody>
      </p:sp>
      <p:pic>
        <p:nvPicPr>
          <p:cNvPr id="1034" name="Picture 17" descr="Swisscom_Stacked_Primary_RGB_PP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427556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 id="2147483673" r:id="rId12"/>
    <p:sldLayoutId id="2147483674" r:id="rId13"/>
  </p:sldLayoutIdLst>
  <p:transition spd="med">
    <p:fade/>
  </p:transition>
  <p:hf hdr="0"/>
  <p:txStyles>
    <p:titleStyle>
      <a:lvl1pPr marL="517525" indent="-517525" algn="l" rtl="0" eaLnBrk="0" fontAlgn="base" hangingPunct="0">
        <a:lnSpc>
          <a:spcPct val="90000"/>
        </a:lnSpc>
        <a:spcBef>
          <a:spcPct val="0"/>
        </a:spcBef>
        <a:spcAft>
          <a:spcPct val="0"/>
        </a:spcAft>
        <a:defRPr sz="2800">
          <a:solidFill>
            <a:schemeClr val="accent1"/>
          </a:solidFill>
          <a:latin typeface="+mj-lt"/>
          <a:ea typeface="ＭＳ Ｐゴシック" pitchFamily="34" charset="-128"/>
          <a:cs typeface="ＭＳ Ｐゴシック" charset="0"/>
        </a:defRPr>
      </a:lvl1pPr>
      <a:lvl2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2pPr>
      <a:lvl3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3pPr>
      <a:lvl4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4pPr>
      <a:lvl5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5pPr>
      <a:lvl6pPr marL="9747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6pPr>
      <a:lvl7pPr marL="14319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7pPr>
      <a:lvl8pPr marL="18891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8pPr>
      <a:lvl9pPr marL="23463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ＭＳ Ｐゴシック" pitchFamily="34" charset="-128"/>
          <a:cs typeface="ＭＳ Ｐゴシック" charset="0"/>
        </a:defRPr>
      </a:lvl1pPr>
      <a:lvl2pPr marL="539750" indent="-182563"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2pPr>
      <a:lvl3pPr marL="903288"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3pPr>
      <a:lvl4pPr marL="1262063" indent="-177800"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4pPr>
      <a:lvl5pPr marL="1622425"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5pPr>
      <a:lvl6pPr marL="20796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6pPr>
      <a:lvl7pPr marL="25368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7pPr>
      <a:lvl8pPr marL="29940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8pPr>
      <a:lvl9pPr marL="34512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
        <p:nvSpPr>
          <p:cNvPr id="8" name="Line 8"/>
          <p:cNvSpPr>
            <a:spLocks noChangeShapeType="1"/>
          </p:cNvSpPr>
          <p:nvPr/>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9" name="Line 13"/>
          <p:cNvSpPr>
            <a:spLocks noChangeShapeType="1"/>
          </p:cNvSpPr>
          <p:nvPr/>
        </p:nvSpPr>
        <p:spPr bwMode="gray">
          <a:xfrm>
            <a:off x="11567604"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4" name="Datumsplatzhalter 3"/>
          <p:cNvSpPr>
            <a:spLocks noGrp="1"/>
          </p:cNvSpPr>
          <p:nvPr>
            <p:ph type="dt" sz="half" idx="2"/>
          </p:nvPr>
        </p:nvSpPr>
        <p:spPr bwMode="gray">
          <a:xfrm rot="16200000">
            <a:off x="11437125" y="1891522"/>
            <a:ext cx="648124" cy="382951"/>
          </a:xfrm>
          <a:prstGeom prst="rect">
            <a:avLst/>
          </a:prstGeom>
        </p:spPr>
        <p:txBody>
          <a:bodyPr vert="horz" lIns="0" tIns="0" rIns="0" bIns="0" rtlCol="0" anchor="t"/>
          <a:lstStyle>
            <a:lvl1pPr algn="r">
              <a:defRPr sz="700">
                <a:solidFill>
                  <a:schemeClr val="tx1"/>
                </a:solidFill>
              </a:defRPr>
            </a:lvl1pPr>
          </a:lstStyle>
          <a:p>
            <a:r>
              <a:rPr lang="de-DE">
                <a:solidFill>
                  <a:srgbClr val="001155"/>
                </a:solidFill>
              </a:rPr>
              <a:t>dd/mm/yyyy</a:t>
            </a:r>
            <a:endParaRPr lang="en-GB">
              <a:solidFill>
                <a:srgbClr val="001155"/>
              </a:solidFill>
            </a:endParaRPr>
          </a:p>
        </p:txBody>
      </p:sp>
      <p:sp>
        <p:nvSpPr>
          <p:cNvPr id="5" name="Fußzeilenplatzhalter 4"/>
          <p:cNvSpPr>
            <a:spLocks noGrp="1"/>
          </p:cNvSpPr>
          <p:nvPr>
            <p:ph type="ftr" sz="quarter" idx="3"/>
          </p:nvPr>
        </p:nvSpPr>
        <p:spPr bwMode="gray">
          <a:xfrm rot="16200000">
            <a:off x="10105003" y="3957615"/>
            <a:ext cx="3312371" cy="382948"/>
          </a:xfrm>
          <a:prstGeom prst="rect">
            <a:avLst/>
          </a:prstGeom>
        </p:spPr>
        <p:txBody>
          <a:bodyPr vert="horz" lIns="0" tIns="0" rIns="0" bIns="0" rtlCol="0" anchor="t"/>
          <a:lstStyle>
            <a:lvl1pPr algn="l">
              <a:defRPr sz="700">
                <a:solidFill>
                  <a:schemeClr val="tx1"/>
                </a:solidFill>
              </a:defRPr>
            </a:lvl1pPr>
          </a:lstStyle>
          <a:p>
            <a:r>
              <a:rPr lang="en-US">
                <a:solidFill>
                  <a:srgbClr val="001155"/>
                </a:solidFill>
              </a:rPr>
              <a:t>Classification, First name &amp; surname, Organization, Filename_Version</a:t>
            </a:r>
            <a:endParaRPr lang="en-GB">
              <a:solidFill>
                <a:srgbClr val="001155"/>
              </a:solidFill>
            </a:endParaRPr>
          </a:p>
        </p:txBody>
      </p:sp>
      <p:sp>
        <p:nvSpPr>
          <p:cNvPr id="6" name="Foliennummernplatzhalter 5"/>
          <p:cNvSpPr>
            <a:spLocks noGrp="1"/>
          </p:cNvSpPr>
          <p:nvPr>
            <p:ph type="sldNum" sz="quarter" idx="4"/>
          </p:nvPr>
        </p:nvSpPr>
        <p:spPr bwMode="gray">
          <a:xfrm>
            <a:off x="11569700" y="1124744"/>
            <a:ext cx="382949" cy="287976"/>
          </a:xfrm>
          <a:prstGeom prst="rect">
            <a:avLst/>
          </a:prstGeom>
        </p:spPr>
        <p:txBody>
          <a:bodyPr vert="horz" lIns="0" tIns="0" rIns="0" bIns="0" rtlCol="0" anchor="t"/>
          <a:lstStyle>
            <a:lvl1pPr algn="l">
              <a:defRPr sz="700">
                <a:solidFill>
                  <a:schemeClr val="tx1"/>
                </a:solidFill>
              </a:defRPr>
            </a:lvl1pPr>
          </a:lstStyle>
          <a:p>
            <a:fld id="{F1E6F8D2-302A-414E-8EB0-9FF1A628B391}" type="slidenum">
              <a:rPr lang="en-GB" smtClean="0">
                <a:solidFill>
                  <a:srgbClr val="001155"/>
                </a:solidFill>
              </a:rPr>
              <a:pPr/>
              <a:t>‹#›</a:t>
            </a:fld>
            <a:endParaRPr lang="en-GB">
              <a:solidFill>
                <a:srgbClr val="001155"/>
              </a:solidFill>
            </a:endParaRPr>
          </a:p>
        </p:txBody>
      </p:sp>
      <p:sp>
        <p:nvSpPr>
          <p:cNvPr id="15" name="Line 8"/>
          <p:cNvSpPr>
            <a:spLocks noChangeShapeType="1"/>
          </p:cNvSpPr>
          <p:nvPr/>
        </p:nvSpPr>
        <p:spPr bwMode="gray">
          <a:xfrm flipV="1">
            <a:off x="11569718"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6" name="Titelplatzhalter 15"/>
          <p:cNvSpPr>
            <a:spLocks noGrp="1"/>
          </p:cNvSpPr>
          <p:nvPr>
            <p:ph type="title"/>
          </p:nvPr>
        </p:nvSpPr>
        <p:spPr bwMode="gray">
          <a:xfrm>
            <a:off x="527051" y="260352"/>
            <a:ext cx="10464800" cy="1152369"/>
          </a:xfrm>
          <a:prstGeom prst="rect">
            <a:avLst/>
          </a:prstGeom>
        </p:spPr>
        <p:txBody>
          <a:bodyPr vert="horz" lIns="0" tIns="0" rIns="0" bIns="108000" rtlCol="0" anchor="b">
            <a:noAutofit/>
          </a:bodyPr>
          <a:lstStyle/>
          <a:p>
            <a:r>
              <a:rPr lang="de-DE"/>
              <a:t>Titelmasterformat durch Klicken bearbeiten</a:t>
            </a:r>
            <a:endParaRPr lang="en-GB"/>
          </a:p>
        </p:txBody>
      </p:sp>
      <p:sp>
        <p:nvSpPr>
          <p:cNvPr id="17" name="Textplatzhalter 16"/>
          <p:cNvSpPr>
            <a:spLocks noGrp="1"/>
          </p:cNvSpPr>
          <p:nvPr>
            <p:ph type="body" idx="1"/>
            <p:custDataLst>
              <p:tags r:id="rId18"/>
            </p:custDataLst>
          </p:nvPr>
        </p:nvSpPr>
        <p:spPr bwMode="gray">
          <a:xfrm>
            <a:off x="1200153" y="1773237"/>
            <a:ext cx="9791700" cy="4248051"/>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VCT_Marker_ID_2" hidden="1"/>
          <p:cNvSpPr/>
          <p:nvPr>
            <p:custDataLst>
              <p:tags r:id="rId19"/>
            </p:custDataLst>
          </p:nvPr>
        </p:nvSpPr>
        <p:spPr bwMode="gray">
          <a:xfrm>
            <a:off x="1693334" y="127000"/>
            <a:ext cx="169333"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err="1">
              <a:solidFill>
                <a:srgbClr val="001155"/>
              </a:solidFill>
            </a:endParaRPr>
          </a:p>
        </p:txBody>
      </p:sp>
    </p:spTree>
    <p:extLst>
      <p:ext uri="{BB962C8B-B14F-4D97-AF65-F5344CB8AC3E}">
        <p14:creationId xmlns:p14="http://schemas.microsoft.com/office/powerpoint/2010/main" val="316412167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Lst>
  <p:hf hdr="0"/>
  <p:txStyles>
    <p:titleStyle>
      <a:lvl1pPr marL="490538" indent="-490538" algn="l" defTabSz="914400" rtl="0" eaLnBrk="1" latinLnBrk="0" hangingPunct="1">
        <a:spcBef>
          <a:spcPct val="0"/>
        </a:spcBef>
        <a:buNone/>
        <a:defRPr lang="en-GB" sz="2800" kern="1200" dirty="0">
          <a:solidFill>
            <a:schemeClr val="tx1"/>
          </a:solidFill>
          <a:latin typeface="+mj-lt"/>
          <a:ea typeface="+mj-ea"/>
          <a:cs typeface="+mj-cs"/>
        </a:defRPr>
      </a:lvl1pPr>
    </p:titleStyle>
    <p:bodyStyle>
      <a:lvl1pPr marL="182563" indent="-182563" algn="l" defTabSz="914400" rtl="0" eaLnBrk="1" latinLnBrk="0" hangingPunct="1">
        <a:spcBef>
          <a:spcPct val="20000"/>
        </a:spcBef>
        <a:buClr>
          <a:schemeClr val="accent2"/>
        </a:buClr>
        <a:buFont typeface="TheSans Swisscom" pitchFamily="34" charset="0"/>
        <a:buChar char="&gt;"/>
        <a:defRPr lang="de-DE" sz="1800" kern="1200" dirty="0" smtClean="0">
          <a:solidFill>
            <a:schemeClr val="tx1"/>
          </a:solidFill>
          <a:latin typeface="+mn-lt"/>
          <a:ea typeface="+mn-ea"/>
          <a:cs typeface="+mn-cs"/>
        </a:defRPr>
      </a:lvl1pPr>
      <a:lvl2pPr marL="539750" indent="-182563"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2pPr>
      <a:lvl3pPr marL="898525"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3pPr>
      <a:lvl4pPr marL="1255713"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4pPr>
      <a:lvl5pPr marL="1612900" indent="-174625" algn="l" defTabSz="914400" rtl="0" eaLnBrk="1" latinLnBrk="0" hangingPunct="1">
        <a:spcBef>
          <a:spcPct val="20000"/>
        </a:spcBef>
        <a:buFont typeface="TheSans Swisscom Light" pitchFamily="34" charset="0"/>
        <a:buChar char="–"/>
        <a:defRPr lang="en-GB" sz="1800" kern="1200" dirty="0">
          <a:solidFill>
            <a:schemeClr val="tx1"/>
          </a:solidFill>
          <a:latin typeface="+mn-lt"/>
          <a:ea typeface="+mn-ea"/>
          <a:cs typeface="+mn-cs"/>
        </a:defRPr>
      </a:lvl5pPr>
      <a:lvl6pPr marL="1970088" indent="-174625"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6pPr>
      <a:lvl7pPr marL="2335213"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7pPr>
      <a:lvl8pPr marL="2693988" indent="-184150"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8pPr>
      <a:lvl9pPr marL="3051175"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ctr" anchorCtr="0" compatLnSpc="1">
            <a:prstTxWarp prst="textNoShape">
              <a:avLst/>
            </a:prstTxWarp>
          </a:bodyPr>
          <a:lstStyle/>
          <a:p>
            <a:pPr lvl="0"/>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GB" err="1"/>
              <a:t>Textmasterformate</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91440" bIns="0" numCol="1" anchor="t" anchorCtr="0" compatLnSpc="1">
            <a:prstTxWarp prst="textNoShape">
              <a:avLst/>
            </a:prstTxWarp>
          </a:bodyPr>
          <a:lstStyle>
            <a:lvl1pPr algn="ctr">
              <a:defRPr sz="700">
                <a:solidFill>
                  <a:srgbClr val="001155"/>
                </a:solidFill>
                <a:latin typeface="TheSans Swisscom" pitchFamily="34" charset="0"/>
              </a:defRPr>
            </a:lvl1pPr>
          </a:lstStyle>
          <a:p>
            <a:pPr fontAlgn="base">
              <a:spcBef>
                <a:spcPct val="0"/>
              </a:spcBef>
              <a:spcAft>
                <a:spcPct val="0"/>
              </a:spcAft>
            </a:pPr>
            <a:fld id="{6C02E13C-6DE1-4F5D-9131-28932DF591E1}" type="datetime1">
              <a:rPr lang="de-CH" smtClean="0"/>
              <a:pPr fontAlgn="base">
                <a:spcBef>
                  <a:spcPct val="0"/>
                </a:spcBef>
                <a:spcAft>
                  <a:spcPct val="0"/>
                </a:spcAft>
              </a:pPr>
              <a:t>21.03.2024</a:t>
            </a:fld>
            <a:endParaRPr lang="en-GB">
              <a:cs typeface="ＭＳ Ｐゴシック" charset="0"/>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defRPr sz="700">
                <a:solidFill>
                  <a:srgbClr val="001155"/>
                </a:solidFill>
                <a:latin typeface="TheSans Swisscom" pitchFamily="34" charset="0"/>
              </a:defRPr>
            </a:lvl1pPr>
          </a:lstStyle>
          <a:p>
            <a:pPr fontAlgn="base">
              <a:spcBef>
                <a:spcPct val="0"/>
              </a:spcBef>
              <a:spcAft>
                <a:spcPct val="0"/>
              </a:spcAft>
            </a:pPr>
            <a:fld id="{C9689800-A86A-408E-BB16-5354228EDBBF}" type="slidenum">
              <a:rPr lang="en-GB" smtClean="0">
                <a:cs typeface="ＭＳ Ｐゴシック" charset="0"/>
              </a:rPr>
              <a:pPr fontAlgn="base">
                <a:spcBef>
                  <a:spcPct val="0"/>
                </a:spcBef>
                <a:spcAft>
                  <a:spcPct val="0"/>
                </a:spcAft>
              </a:pPr>
              <a:t>‹#›</a:t>
            </a:fld>
            <a:endParaRPr lang="en-GB">
              <a:cs typeface="ＭＳ Ｐゴシック" charset="0"/>
            </a:endParaRPr>
          </a:p>
        </p:txBody>
      </p:sp>
      <p:sp>
        <p:nvSpPr>
          <p:cNvPr id="103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3"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7"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r">
              <a:defRPr sz="700">
                <a:solidFill>
                  <a:srgbClr val="001155"/>
                </a:solidFill>
                <a:latin typeface="TheSans Swisscom" pitchFamily="34" charset="0"/>
              </a:defRPr>
            </a:lvl1pPr>
          </a:lstStyle>
          <a:p>
            <a:pPr fontAlgn="base">
              <a:spcBef>
                <a:spcPct val="0"/>
              </a:spcBef>
              <a:spcAft>
                <a:spcPct val="0"/>
              </a:spcAft>
            </a:pPr>
            <a:r>
              <a:rPr lang="en-US">
                <a:cs typeface="ＭＳ Ｐゴシック" charset="0"/>
              </a:rPr>
              <a:t>Swisscom Cloud </a:t>
            </a:r>
            <a:endParaRPr lang="en-GB">
              <a:cs typeface="ＭＳ Ｐゴシック" charset="0"/>
            </a:endParaRPr>
          </a:p>
        </p:txBody>
      </p:sp>
      <p:pic>
        <p:nvPicPr>
          <p:cNvPr id="1034" name="Picture 17" descr="Swisscom_Stacked_Primary_RGB_PPT"/>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7797724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517525" indent="-517525" algn="l" rtl="0" eaLnBrk="0" fontAlgn="base" hangingPunct="0">
        <a:lnSpc>
          <a:spcPct val="90000"/>
        </a:lnSpc>
        <a:spcBef>
          <a:spcPct val="0"/>
        </a:spcBef>
        <a:spcAft>
          <a:spcPct val="0"/>
        </a:spcAft>
        <a:defRPr sz="2800">
          <a:solidFill>
            <a:schemeClr val="accent1"/>
          </a:solidFill>
          <a:latin typeface="+mj-lt"/>
          <a:ea typeface="MS PGothic" pitchFamily="34" charset="-128"/>
          <a:cs typeface="ＭＳ Ｐゴシック" charset="0"/>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5pPr>
      <a:lvl6pPr marL="9747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6pPr>
      <a:lvl7pPr marL="14319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7pPr>
      <a:lvl8pPr marL="18891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8pPr>
      <a:lvl9pPr marL="23463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S PGothic" pitchFamily="34" charset="-128"/>
          <a:cs typeface="ＭＳ Ｐゴシック" charset="0"/>
        </a:defRPr>
      </a:lvl1pPr>
      <a:lvl2pPr marL="539750" indent="-182563"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2pPr>
      <a:lvl3pPr marL="903288"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3pPr>
      <a:lvl4pPr marL="1262063" indent="-177800"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4pPr>
      <a:lvl5pPr marL="1622425"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5pPr>
      <a:lvl6pPr marL="20796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6pPr>
      <a:lvl7pPr marL="25368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7pPr>
      <a:lvl8pPr marL="29940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8pPr>
      <a:lvl9pPr marL="34512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de-DE" altLang="de-DE"/>
              <a:t>Titelmasterformat durch Klicken bearbeiten</a:t>
            </a:r>
            <a:endParaRPr lang="en-GB" altLang="de-DE"/>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de-DE"/>
              <a:t>Textmasterformat bearbeiten</a:t>
            </a:r>
          </a:p>
          <a:p>
            <a:pPr lvl="1"/>
            <a:r>
              <a:rPr lang="de-DE" altLang="de-DE"/>
              <a:t>Zweite Ebene</a:t>
            </a:r>
          </a:p>
          <a:p>
            <a:pPr lvl="2"/>
            <a:r>
              <a:rPr lang="de-DE" altLang="de-DE"/>
              <a:t>Dritte Ebene</a:t>
            </a:r>
          </a:p>
          <a:p>
            <a:pPr lvl="3"/>
            <a:r>
              <a:rPr lang="de-DE" altLang="de-DE"/>
              <a:t>Vierte Ebene</a:t>
            </a:r>
          </a:p>
          <a:p>
            <a:pPr lvl="4"/>
            <a:r>
              <a:rPr lang="de-DE" altLang="de-DE"/>
              <a:t>Fünfte Ebene</a:t>
            </a:r>
            <a:endParaRPr lang="en-GB" altLang="de-DE"/>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lgn="ctr">
              <a:spcBef>
                <a:spcPct val="0"/>
              </a:spcBef>
              <a:buClrTx/>
              <a:defRPr sz="700" smtClean="0"/>
            </a:lvl1pPr>
          </a:lstStyle>
          <a:p>
            <a:pPr fontAlgn="base">
              <a:spcAft>
                <a:spcPct val="0"/>
              </a:spcAft>
              <a:defRPr/>
            </a:pPr>
            <a:r>
              <a:rPr lang="de-CH" altLang="de-DE">
                <a:solidFill>
                  <a:srgbClr val="001155"/>
                </a:solidFill>
              </a:rPr>
              <a:t>dd/mm/yyyy</a:t>
            </a:r>
            <a:endParaRPr lang="en-GB" altLang="de-DE">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spcBef>
                <a:spcPct val="0"/>
              </a:spcBef>
              <a:buClrTx/>
              <a:defRPr sz="700"/>
            </a:lvl1pPr>
          </a:lstStyle>
          <a:p>
            <a:pPr fontAlgn="base">
              <a:spcAft>
                <a:spcPct val="0"/>
              </a:spcAft>
            </a:pPr>
            <a:fld id="{12396580-EA28-4202-85A5-787E8FA8C0FB}" type="slidenum">
              <a:rPr lang="en-GB" altLang="de-DE">
                <a:solidFill>
                  <a:srgbClr val="001155"/>
                </a:solidFill>
              </a:rPr>
              <a:pPr fontAlgn="base">
                <a:spcAft>
                  <a:spcPct val="0"/>
                </a:spcAft>
              </a:pPr>
              <a:t>‹#›</a:t>
            </a:fld>
            <a:endParaRPr lang="en-GB" altLang="de-DE">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buClrTx/>
              <a:defRPr sz="700" smtClean="0"/>
            </a:lvl1pPr>
          </a:lstStyle>
          <a:p>
            <a:pPr fontAlgn="base">
              <a:spcAft>
                <a:spcPct val="0"/>
              </a:spcAft>
              <a:defRPr/>
            </a:pPr>
            <a:r>
              <a:rPr lang="en-GB" altLang="de-DE">
                <a:solidFill>
                  <a:srgbClr val="001155"/>
                </a:solidFill>
              </a:rPr>
              <a:t>Classification, First name &amp; surname, Organization, Filename_Version</a:t>
            </a:r>
          </a:p>
        </p:txBody>
      </p:sp>
      <p:pic>
        <p:nvPicPr>
          <p:cNvPr id="1034" name="Picture 17" descr="Swisscom_Stacked_Primary_RGB_PP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570583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hf hdr="0"/>
  <p:txStyles>
    <p:titleStyle>
      <a:lvl1pPr marL="517525" indent="-517525" algn="l" rtl="0" eaLnBrk="1" fontAlgn="base" hangingPunct="1">
        <a:lnSpc>
          <a:spcPct val="90000"/>
        </a:lnSpc>
        <a:spcBef>
          <a:spcPct val="0"/>
        </a:spcBef>
        <a:spcAft>
          <a:spcPct val="0"/>
        </a:spcAft>
        <a:defRPr sz="2800">
          <a:solidFill>
            <a:schemeClr val="tx2"/>
          </a:solidFill>
          <a:latin typeface="+mj-lt"/>
          <a:ea typeface="+mj-ea"/>
          <a:cs typeface="+mj-cs"/>
        </a:defRPr>
      </a:lvl1pPr>
      <a:lvl2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2pPr>
      <a:lvl3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3pPr>
      <a:lvl4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4pPr>
      <a:lvl5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5pPr>
      <a:lvl6pPr marL="9747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6pPr>
      <a:lvl7pPr marL="14319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7pPr>
      <a:lvl8pPr marL="18891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8pPr>
      <a:lvl9pPr marL="23463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1" fontAlgn="base" hangingPunct="1">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2pPr>
      <a:lvl3pPr marL="903288" indent="-185738"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3pPr>
      <a:lvl4pPr marL="1262063" indent="-177800"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4pPr>
      <a:lvl5pPr marL="1622425" indent="-185738"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5pPr>
      <a:lvl6pPr marL="20796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
        <p:nvSpPr>
          <p:cNvPr id="8"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9" name="Line 13"/>
          <p:cNvSpPr>
            <a:spLocks noChangeShapeType="1"/>
          </p:cNvSpPr>
          <p:nvPr userDrawn="1"/>
        </p:nvSpPr>
        <p:spPr bwMode="gray">
          <a:xfrm>
            <a:off x="11567585"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4" name="Datumsplatzhalter 3"/>
          <p:cNvSpPr>
            <a:spLocks noGrp="1"/>
          </p:cNvSpPr>
          <p:nvPr>
            <p:ph type="dt" sz="half" idx="2"/>
          </p:nvPr>
        </p:nvSpPr>
        <p:spPr bwMode="gray">
          <a:xfrm rot="16200000">
            <a:off x="11437115" y="1891512"/>
            <a:ext cx="648124" cy="382951"/>
          </a:xfrm>
          <a:prstGeom prst="rect">
            <a:avLst/>
          </a:prstGeom>
        </p:spPr>
        <p:txBody>
          <a:bodyPr vert="horz" lIns="0" tIns="0" rIns="0" bIns="0" rtlCol="0" anchor="t"/>
          <a:lstStyle>
            <a:lvl1pPr algn="r">
              <a:defRPr sz="700">
                <a:solidFill>
                  <a:schemeClr val="tx1"/>
                </a:solidFill>
              </a:defRPr>
            </a:lvl1pPr>
          </a:lstStyle>
          <a:p>
            <a:r>
              <a:rPr lang="de-DE">
                <a:solidFill>
                  <a:srgbClr val="001155"/>
                </a:solidFill>
              </a:rPr>
              <a:t>02.05.2016</a:t>
            </a:r>
          </a:p>
        </p:txBody>
      </p:sp>
      <p:sp>
        <p:nvSpPr>
          <p:cNvPr id="5" name="Fußzeilenplatzhalter 4"/>
          <p:cNvSpPr>
            <a:spLocks noGrp="1"/>
          </p:cNvSpPr>
          <p:nvPr>
            <p:ph type="ftr" sz="quarter" idx="3"/>
          </p:nvPr>
        </p:nvSpPr>
        <p:spPr bwMode="gray">
          <a:xfrm rot="16200000">
            <a:off x="10104994" y="3957605"/>
            <a:ext cx="3312370" cy="382948"/>
          </a:xfrm>
          <a:prstGeom prst="rect">
            <a:avLst/>
          </a:prstGeom>
        </p:spPr>
        <p:txBody>
          <a:bodyPr vert="horz" lIns="0" tIns="0" rIns="0" bIns="0" rtlCol="0" anchor="t"/>
          <a:lstStyle>
            <a:lvl1pPr algn="l">
              <a:defRPr sz="700">
                <a:solidFill>
                  <a:schemeClr val="tx1"/>
                </a:solidFill>
              </a:defRPr>
            </a:lvl1pPr>
          </a:lstStyle>
          <a:p>
            <a:r>
              <a:rPr lang="de-CH">
                <a:solidFill>
                  <a:srgbClr val="001155"/>
                </a:solidFill>
              </a:rPr>
              <a:t>DCS Produkt in S-Stack und SAM-Stack</a:t>
            </a:r>
            <a:endParaRPr lang="de-DE">
              <a:solidFill>
                <a:srgbClr val="001155"/>
              </a:solidFill>
            </a:endParaRPr>
          </a:p>
        </p:txBody>
      </p:sp>
      <p:sp>
        <p:nvSpPr>
          <p:cNvPr id="6" name="Foliennummernplatzhalter 5"/>
          <p:cNvSpPr>
            <a:spLocks noGrp="1"/>
          </p:cNvSpPr>
          <p:nvPr>
            <p:ph type="sldNum" sz="quarter" idx="4"/>
          </p:nvPr>
        </p:nvSpPr>
        <p:spPr bwMode="gray">
          <a:xfrm>
            <a:off x="11569700" y="1124744"/>
            <a:ext cx="382949" cy="287976"/>
          </a:xfrm>
          <a:prstGeom prst="rect">
            <a:avLst/>
          </a:prstGeom>
        </p:spPr>
        <p:txBody>
          <a:bodyPr vert="horz" lIns="0" tIns="0" rIns="0" bIns="0" rtlCol="0" anchor="t"/>
          <a:lstStyle>
            <a:lvl1pPr algn="l">
              <a:defRPr sz="700">
                <a:solidFill>
                  <a:schemeClr val="tx1"/>
                </a:solidFill>
              </a:defRPr>
            </a:lvl1pPr>
          </a:lstStyle>
          <a:p>
            <a:fld id="{F1E6F8D2-302A-414E-8EB0-9FF1A628B391}" type="slidenum">
              <a:rPr lang="de-DE" smtClean="0">
                <a:solidFill>
                  <a:srgbClr val="001155"/>
                </a:solidFill>
              </a:rPr>
              <a:pPr/>
              <a:t>‹#›</a:t>
            </a:fld>
            <a:endParaRPr lang="de-DE">
              <a:solidFill>
                <a:srgbClr val="001155"/>
              </a:solidFill>
            </a:endParaRPr>
          </a:p>
        </p:txBody>
      </p:sp>
      <p:sp>
        <p:nvSpPr>
          <p:cNvPr id="15" name="Line 8"/>
          <p:cNvSpPr>
            <a:spLocks noChangeShapeType="1"/>
          </p:cNvSpPr>
          <p:nvPr userDrawn="1"/>
        </p:nvSpPr>
        <p:spPr bwMode="gray">
          <a:xfrm flipV="1">
            <a:off x="11569699"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6" name="Titelplatzhalter 15"/>
          <p:cNvSpPr>
            <a:spLocks noGrp="1"/>
          </p:cNvSpPr>
          <p:nvPr>
            <p:ph type="title"/>
          </p:nvPr>
        </p:nvSpPr>
        <p:spPr bwMode="gray">
          <a:xfrm>
            <a:off x="527051" y="260352"/>
            <a:ext cx="10464800" cy="1152369"/>
          </a:xfrm>
          <a:prstGeom prst="rect">
            <a:avLst/>
          </a:prstGeom>
        </p:spPr>
        <p:txBody>
          <a:bodyPr vert="horz" lIns="0" tIns="0" rIns="0" bIns="108000" rtlCol="0" anchor="b">
            <a:noAutofit/>
          </a:bodyPr>
          <a:lstStyle/>
          <a:p>
            <a:r>
              <a:rPr lang="de-DE"/>
              <a:t>Titelmasterformat durch Klicken bearbeiten</a:t>
            </a:r>
          </a:p>
        </p:txBody>
      </p:sp>
      <p:sp>
        <p:nvSpPr>
          <p:cNvPr id="17" name="Textplatzhalter 16"/>
          <p:cNvSpPr>
            <a:spLocks noGrp="1"/>
          </p:cNvSpPr>
          <p:nvPr>
            <p:ph type="body" idx="1"/>
            <p:custDataLst>
              <p:tags r:id="rId17"/>
            </p:custDataLst>
          </p:nvPr>
        </p:nvSpPr>
        <p:spPr bwMode="gray">
          <a:xfrm>
            <a:off x="1200150" y="1773238"/>
            <a:ext cx="9791700" cy="424805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VCT_Marker_ID_2" hidden="1"/>
          <p:cNvSpPr/>
          <p:nvPr userDrawn="1">
            <p:custDataLst>
              <p:tags r:id="rId18"/>
            </p:custDataLst>
          </p:nvPr>
        </p:nvSpPr>
        <p:spPr bwMode="gray">
          <a:xfrm>
            <a:off x="1693334" y="127000"/>
            <a:ext cx="169333"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err="1">
              <a:solidFill>
                <a:srgbClr val="001155"/>
              </a:solidFill>
            </a:endParaRPr>
          </a:p>
        </p:txBody>
      </p:sp>
      <p:sp>
        <p:nvSpPr>
          <p:cNvPr id="12" name="VctRoadmap_ID_12" hidden="1"/>
          <p:cNvSpPr txBox="1"/>
          <p:nvPr userDrawn="1">
            <p:custDataLst>
              <p:tags r:id="rId19"/>
            </p:custDataLst>
          </p:nvPr>
        </p:nvSpPr>
        <p:spPr bwMode="gray">
          <a:xfrm>
            <a:off x="5759449" y="88900"/>
            <a:ext cx="5232400" cy="184666"/>
          </a:xfrm>
          <a:prstGeom prst="rect">
            <a:avLst/>
          </a:prstGeom>
          <a:noFill/>
          <a:ln cmpd="sng">
            <a:noFill/>
          </a:ln>
        </p:spPr>
        <p:txBody>
          <a:bodyPr vert="horz" wrap="square" lIns="0" tIns="0" rIns="0" bIns="0" rtlCol="0" anchor="t" anchorCtr="0">
            <a:spAutoFit/>
          </a:bodyPr>
          <a:lstStyle/>
          <a:p>
            <a:pPr algn="r"/>
            <a:r>
              <a:rPr lang="de-DE" sz="1200" b="1" i="1">
                <a:solidFill>
                  <a:srgbClr val="000000"/>
                </a:solidFill>
                <a:latin typeface="Arial"/>
              </a:rPr>
              <a:t>_Auto</a:t>
            </a:r>
          </a:p>
        </p:txBody>
      </p:sp>
    </p:spTree>
    <p:extLst>
      <p:ext uri="{BB962C8B-B14F-4D97-AF65-F5344CB8AC3E}">
        <p14:creationId xmlns:p14="http://schemas.microsoft.com/office/powerpoint/2010/main" val="1620002016"/>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Lst>
  <p:transition/>
  <p:hf hdr="0"/>
  <p:txStyles>
    <p:titleStyle>
      <a:lvl1pPr marL="490538" indent="-490538" algn="l" defTabSz="914400" rtl="0" eaLnBrk="1" latinLnBrk="0" hangingPunct="1">
        <a:spcBef>
          <a:spcPct val="0"/>
        </a:spcBef>
        <a:buNone/>
        <a:defRPr lang="en-GB" sz="2800" kern="1200" dirty="0">
          <a:solidFill>
            <a:schemeClr val="tx1"/>
          </a:solidFill>
          <a:latin typeface="+mj-lt"/>
          <a:ea typeface="+mj-ea"/>
          <a:cs typeface="+mj-cs"/>
        </a:defRPr>
      </a:lvl1pPr>
    </p:titleStyle>
    <p:bodyStyle>
      <a:lvl1pPr marL="182563" indent="-182563" algn="l" defTabSz="914400" rtl="0" eaLnBrk="1" latinLnBrk="0" hangingPunct="1">
        <a:spcBef>
          <a:spcPct val="20000"/>
        </a:spcBef>
        <a:buClr>
          <a:schemeClr val="accent2"/>
        </a:buClr>
        <a:buFont typeface="TheSans Swisscom" pitchFamily="34" charset="0"/>
        <a:buChar char="&gt;"/>
        <a:defRPr lang="de-DE" sz="1800" kern="1200" dirty="0" smtClean="0">
          <a:solidFill>
            <a:schemeClr val="tx1"/>
          </a:solidFill>
          <a:latin typeface="+mn-lt"/>
          <a:ea typeface="+mn-ea"/>
          <a:cs typeface="+mn-cs"/>
        </a:defRPr>
      </a:lvl1pPr>
      <a:lvl2pPr marL="539750" indent="-182563"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2pPr>
      <a:lvl3pPr marL="898525"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3pPr>
      <a:lvl4pPr marL="1255713"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4pPr>
      <a:lvl5pPr marL="1612900" indent="-174625" algn="l" defTabSz="914400" rtl="0" eaLnBrk="1" latinLnBrk="0" hangingPunct="1">
        <a:spcBef>
          <a:spcPct val="20000"/>
        </a:spcBef>
        <a:buFont typeface="TheSans Swisscom Light" pitchFamily="34" charset="0"/>
        <a:buChar char="–"/>
        <a:defRPr lang="en-GB" sz="1800" kern="1200" dirty="0">
          <a:solidFill>
            <a:schemeClr val="tx1"/>
          </a:solidFill>
          <a:latin typeface="+mn-lt"/>
          <a:ea typeface="+mn-ea"/>
          <a:cs typeface="+mn-cs"/>
        </a:defRPr>
      </a:lvl5pPr>
      <a:lvl6pPr marL="1970088" indent="-174625"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6pPr>
      <a:lvl7pPr marL="2335213"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7pPr>
      <a:lvl8pPr marL="2693988" indent="-184150"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8pPr>
      <a:lvl9pPr marL="3051175"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t>Titelmasterformat durch Klicken bearbeiten</a:t>
            </a:r>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Textmasterformate durch Klicken bearbeiten</a:t>
            </a:r>
          </a:p>
          <a:p>
            <a:pPr lvl="1"/>
            <a:r>
              <a:rPr lang="en-GB"/>
              <a:t>Zweite Ebene</a:t>
            </a:r>
          </a:p>
          <a:p>
            <a:pPr lvl="2"/>
            <a:r>
              <a:rPr lang="en-GB"/>
              <a:t>Dritte Ebene</a:t>
            </a:r>
          </a:p>
          <a:p>
            <a:pPr lvl="3"/>
            <a:r>
              <a:rPr lang="en-GB"/>
              <a:t>Vierte Ebene</a:t>
            </a:r>
          </a:p>
          <a:p>
            <a:pPr lvl="4"/>
            <a:r>
              <a:rPr lang="en-GB"/>
              <a:t>Fünfte Ebene</a:t>
            </a:r>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spcBef>
                <a:spcPct val="0"/>
              </a:spcBef>
              <a:buClrTx/>
              <a:defRPr sz="700"/>
            </a:lvl1pPr>
          </a:lstStyle>
          <a:p>
            <a:pPr algn="ctr" fontAlgn="base">
              <a:spcAft>
                <a:spcPct val="0"/>
              </a:spcAft>
              <a:defRPr/>
            </a:pPr>
            <a:fld id="{C409AF09-4223-4D74-B22D-630B9EFC8995}" type="datetime1">
              <a:rPr lang="de-DE" smtClean="0">
                <a:solidFill>
                  <a:srgbClr val="001155"/>
                </a:solidFill>
              </a:rPr>
              <a:pPr algn="ctr" fontAlgn="base">
                <a:spcAft>
                  <a:spcPct val="0"/>
                </a:spcAft>
                <a:defRPr/>
              </a:pPr>
              <a:t>21.03.2024</a:t>
            </a:fld>
            <a:endParaRPr lang="en-GB">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spcBef>
                <a:spcPct val="0"/>
              </a:spcBef>
              <a:buClrTx/>
              <a:defRPr sz="700"/>
            </a:lvl1pPr>
          </a:lstStyle>
          <a:p>
            <a:pPr fontAlgn="base">
              <a:spcAft>
                <a:spcPct val="0"/>
              </a:spcAft>
              <a:defRPr/>
            </a:pPr>
            <a:fld id="{66CCBED9-E6FE-4EA0-9069-28C2A5EF93F0}" type="slidenum">
              <a:rPr lang="en-GB">
                <a:solidFill>
                  <a:srgbClr val="001155"/>
                </a:solidFill>
              </a:rPr>
              <a:pPr fontAlgn="base">
                <a:spcAft>
                  <a:spcPct val="0"/>
                </a:spcAft>
                <a:defRPr/>
              </a:pPr>
              <a:t>‹#›</a:t>
            </a:fld>
            <a:endParaRPr lang="en-GB">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buClrTx/>
              <a:defRPr sz="700"/>
            </a:lvl1pPr>
          </a:lstStyle>
          <a:p>
            <a:pPr fontAlgn="base">
              <a:spcAft>
                <a:spcPct val="0"/>
              </a:spcAft>
              <a:defRPr/>
            </a:pPr>
            <a:r>
              <a:rPr lang="de-CH">
                <a:solidFill>
                  <a:srgbClr val="001155"/>
                </a:solidFill>
              </a:rPr>
              <a:t>C3, Alain Bovet, INI-ON-PLS-SMT, Aufgaben_Übergabe_Version_0.2</a:t>
            </a:r>
            <a:endParaRPr lang="en-GB">
              <a:solidFill>
                <a:srgbClr val="001155"/>
              </a:solidFill>
            </a:endParaRPr>
          </a:p>
        </p:txBody>
      </p:sp>
      <p:pic>
        <p:nvPicPr>
          <p:cNvPr id="1034" name="Picture 17" descr="Swisscom_Stacked_Primary_RGB_PP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67711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Lst>
  <p:hf hdr="0"/>
  <p:txStyles>
    <p:titleStyle>
      <a:lvl1pPr marL="517525" indent="-517525" algn="l" rtl="0" eaLnBrk="0" fontAlgn="base" hangingPunct="0">
        <a:lnSpc>
          <a:spcPct val="90000"/>
        </a:lnSpc>
        <a:spcBef>
          <a:spcPct val="0"/>
        </a:spcBef>
        <a:spcAft>
          <a:spcPct val="0"/>
        </a:spcAft>
        <a:defRPr sz="2800">
          <a:solidFill>
            <a:schemeClr val="tx2"/>
          </a:solidFill>
          <a:latin typeface="+mj-lt"/>
          <a:ea typeface="+mj-ea"/>
          <a:cs typeface="+mj-cs"/>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5pPr>
      <a:lvl6pPr marL="974725" indent="-517525" algn="l" rtl="0" fontAlgn="base">
        <a:lnSpc>
          <a:spcPct val="90000"/>
        </a:lnSpc>
        <a:spcBef>
          <a:spcPct val="0"/>
        </a:spcBef>
        <a:spcAft>
          <a:spcPct val="0"/>
        </a:spcAft>
        <a:defRPr sz="2800">
          <a:solidFill>
            <a:schemeClr val="tx2"/>
          </a:solidFill>
          <a:latin typeface="TheSans Swisscom Light" pitchFamily="34" charset="0"/>
        </a:defRPr>
      </a:lvl6pPr>
      <a:lvl7pPr marL="1431925" indent="-517525" algn="l" rtl="0" fontAlgn="base">
        <a:lnSpc>
          <a:spcPct val="90000"/>
        </a:lnSpc>
        <a:spcBef>
          <a:spcPct val="0"/>
        </a:spcBef>
        <a:spcAft>
          <a:spcPct val="0"/>
        </a:spcAft>
        <a:defRPr sz="2800">
          <a:solidFill>
            <a:schemeClr val="tx2"/>
          </a:solidFill>
          <a:latin typeface="TheSans Swisscom Light" pitchFamily="34" charset="0"/>
        </a:defRPr>
      </a:lvl7pPr>
      <a:lvl8pPr marL="1889125" indent="-517525" algn="l" rtl="0" fontAlgn="base">
        <a:lnSpc>
          <a:spcPct val="90000"/>
        </a:lnSpc>
        <a:spcBef>
          <a:spcPct val="0"/>
        </a:spcBef>
        <a:spcAft>
          <a:spcPct val="0"/>
        </a:spcAft>
        <a:defRPr sz="2800">
          <a:solidFill>
            <a:schemeClr val="tx2"/>
          </a:solidFill>
          <a:latin typeface="TheSans Swisscom Light" pitchFamily="34" charset="0"/>
        </a:defRPr>
      </a:lvl8pPr>
      <a:lvl9pPr marL="2346325" indent="-517525" algn="l" rtl="0" fontAlgn="base">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2pPr>
      <a:lvl3pPr marL="903288"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3pPr>
      <a:lvl4pPr marL="1262063" indent="-177800"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4pPr>
      <a:lvl5pPr marL="1622425"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5pPr>
      <a:lvl6pPr marL="20796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ltLang="de-DE"/>
              <a:t>Titelmasterformat durch Klicken bearbeiten</a:t>
            </a:r>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err="1"/>
              <a:t>Textmasterformate</a:t>
            </a:r>
            <a:r>
              <a:rPr lang="en-GB" altLang="de-DE"/>
              <a:t> </a:t>
            </a:r>
            <a:r>
              <a:rPr lang="en-GB" altLang="de-DE" err="1"/>
              <a:t>durch</a:t>
            </a:r>
            <a:r>
              <a:rPr lang="en-GB" altLang="de-DE"/>
              <a:t> </a:t>
            </a:r>
            <a:r>
              <a:rPr lang="en-GB" altLang="de-DE" err="1"/>
              <a:t>Klicken</a:t>
            </a:r>
            <a:r>
              <a:rPr lang="en-GB" altLang="de-DE"/>
              <a:t> </a:t>
            </a:r>
            <a:r>
              <a:rPr lang="en-GB" altLang="de-DE" err="1"/>
              <a:t>bearbeiten</a:t>
            </a:r>
            <a:endParaRPr lang="en-GB" altLang="de-DE"/>
          </a:p>
          <a:p>
            <a:pPr lvl="1"/>
            <a:r>
              <a:rPr lang="en-GB" altLang="de-DE" err="1"/>
              <a:t>Zweite</a:t>
            </a:r>
            <a:r>
              <a:rPr lang="en-GB" altLang="de-DE"/>
              <a:t> </a:t>
            </a:r>
            <a:r>
              <a:rPr lang="en-GB" altLang="de-DE" err="1"/>
              <a:t>Ebene</a:t>
            </a:r>
            <a:endParaRPr lang="en-GB" altLang="de-DE"/>
          </a:p>
          <a:p>
            <a:pPr lvl="2"/>
            <a:r>
              <a:rPr lang="en-GB" altLang="de-DE" err="1"/>
              <a:t>Dritte</a:t>
            </a:r>
            <a:r>
              <a:rPr lang="en-GB" altLang="de-DE"/>
              <a:t> </a:t>
            </a:r>
            <a:r>
              <a:rPr lang="en-GB" altLang="de-DE" err="1"/>
              <a:t>Ebene</a:t>
            </a:r>
            <a:endParaRPr lang="en-GB" altLang="de-DE"/>
          </a:p>
          <a:p>
            <a:pPr lvl="3"/>
            <a:r>
              <a:rPr lang="en-GB" altLang="de-DE" err="1"/>
              <a:t>Vierte</a:t>
            </a:r>
            <a:r>
              <a:rPr lang="en-GB" altLang="de-DE"/>
              <a:t> </a:t>
            </a:r>
            <a:r>
              <a:rPr lang="en-GB" altLang="de-DE" err="1"/>
              <a:t>Ebene</a:t>
            </a:r>
            <a:endParaRPr lang="en-GB" altLang="de-DE"/>
          </a:p>
          <a:p>
            <a:pPr lvl="4"/>
            <a:r>
              <a:rPr lang="en-GB" altLang="de-DE" err="1"/>
              <a:t>Fünfte</a:t>
            </a:r>
            <a:r>
              <a:rPr lang="en-GB" altLang="de-DE"/>
              <a:t> </a:t>
            </a:r>
            <a:r>
              <a:rPr lang="en-GB" altLang="de-DE" err="1"/>
              <a:t>Ebene</a:t>
            </a:r>
            <a:endParaRPr lang="en-GB" altLang="de-DE"/>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lgn="ctr" eaLnBrk="1" hangingPunct="1">
              <a:spcBef>
                <a:spcPct val="0"/>
              </a:spcBef>
              <a:buClrTx/>
              <a:defRPr sz="700"/>
            </a:lvl1pPr>
          </a:lstStyle>
          <a:p>
            <a:pPr fontAlgn="base">
              <a:spcAft>
                <a:spcPct val="0"/>
              </a:spcAft>
              <a:defRPr/>
            </a:pPr>
            <a:r>
              <a:rPr lang="de-CH" altLang="de-DE">
                <a:solidFill>
                  <a:srgbClr val="001155"/>
                </a:solidFill>
              </a:rPr>
              <a:t>14.04.2016</a:t>
            </a:r>
            <a:endParaRPr lang="en-GB" altLang="de-DE">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eaLnBrk="1" hangingPunct="1">
              <a:defRPr sz="700"/>
            </a:lvl1pPr>
          </a:lstStyle>
          <a:p>
            <a:pPr fontAlgn="base">
              <a:spcBef>
                <a:spcPct val="0"/>
              </a:spcBef>
              <a:spcAft>
                <a:spcPct val="0"/>
              </a:spcAft>
            </a:pPr>
            <a:fld id="{BAE1DE9B-B420-4A5D-8689-0D28680670E3}" type="slidenum">
              <a:rPr lang="en-GB" altLang="de-DE">
                <a:solidFill>
                  <a:srgbClr val="001155"/>
                </a:solidFill>
              </a:rPr>
              <a:pPr fontAlgn="base">
                <a:spcBef>
                  <a:spcPct val="0"/>
                </a:spcBef>
                <a:spcAft>
                  <a:spcPct val="0"/>
                </a:spcAft>
              </a:pPr>
              <a:t>‹#›</a:t>
            </a:fld>
            <a:endParaRPr lang="en-GB" altLang="de-DE">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eaLnBrk="1" hangingPunct="1">
              <a:spcBef>
                <a:spcPct val="0"/>
              </a:spcBef>
              <a:buClrTx/>
              <a:defRPr sz="700"/>
            </a:lvl1pPr>
          </a:lstStyle>
          <a:p>
            <a:pPr fontAlgn="base">
              <a:spcAft>
                <a:spcPct val="0"/>
              </a:spcAft>
              <a:defRPr/>
            </a:pPr>
            <a:r>
              <a:rPr lang="en-GB" altLang="de-DE">
                <a:solidFill>
                  <a:srgbClr val="001155"/>
                </a:solidFill>
              </a:rPr>
              <a:t>Thor-DCS_HAL_V01-.pptx</a:t>
            </a:r>
          </a:p>
        </p:txBody>
      </p:sp>
      <p:pic>
        <p:nvPicPr>
          <p:cNvPr id="1034" name="Picture 17" descr="Swisscom_Stacked_Primary_RGB_PP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1468281"/>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Lst>
  <p:hf hdr="0"/>
  <p:txStyles>
    <p:titleStyle>
      <a:lvl1pPr marL="517525" indent="-517525" algn="l" rtl="0" eaLnBrk="0" fontAlgn="base" hangingPunct="0">
        <a:lnSpc>
          <a:spcPct val="90000"/>
        </a:lnSpc>
        <a:spcBef>
          <a:spcPct val="0"/>
        </a:spcBef>
        <a:spcAft>
          <a:spcPct val="0"/>
        </a:spcAft>
        <a:defRPr sz="2800">
          <a:solidFill>
            <a:schemeClr val="tx2"/>
          </a:solidFill>
          <a:latin typeface="+mj-lt"/>
          <a:ea typeface="+mj-ea"/>
          <a:cs typeface="+mj-cs"/>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5pPr>
      <a:lvl6pPr marL="974725" indent="-517525" algn="l" rtl="0" fontAlgn="base">
        <a:lnSpc>
          <a:spcPct val="90000"/>
        </a:lnSpc>
        <a:spcBef>
          <a:spcPct val="0"/>
        </a:spcBef>
        <a:spcAft>
          <a:spcPct val="0"/>
        </a:spcAft>
        <a:defRPr sz="2800">
          <a:solidFill>
            <a:schemeClr val="tx2"/>
          </a:solidFill>
          <a:latin typeface="TheSans Swisscom Light" pitchFamily="34" charset="0"/>
        </a:defRPr>
      </a:lvl6pPr>
      <a:lvl7pPr marL="1431925" indent="-517525" algn="l" rtl="0" fontAlgn="base">
        <a:lnSpc>
          <a:spcPct val="90000"/>
        </a:lnSpc>
        <a:spcBef>
          <a:spcPct val="0"/>
        </a:spcBef>
        <a:spcAft>
          <a:spcPct val="0"/>
        </a:spcAft>
        <a:defRPr sz="2800">
          <a:solidFill>
            <a:schemeClr val="tx2"/>
          </a:solidFill>
          <a:latin typeface="TheSans Swisscom Light" pitchFamily="34" charset="0"/>
        </a:defRPr>
      </a:lvl7pPr>
      <a:lvl8pPr marL="1889125" indent="-517525" algn="l" rtl="0" fontAlgn="base">
        <a:lnSpc>
          <a:spcPct val="90000"/>
        </a:lnSpc>
        <a:spcBef>
          <a:spcPct val="0"/>
        </a:spcBef>
        <a:spcAft>
          <a:spcPct val="0"/>
        </a:spcAft>
        <a:defRPr sz="2800">
          <a:solidFill>
            <a:schemeClr val="tx2"/>
          </a:solidFill>
          <a:latin typeface="TheSans Swisscom Light" pitchFamily="34" charset="0"/>
        </a:defRPr>
      </a:lvl8pPr>
      <a:lvl9pPr marL="2346325" indent="-517525" algn="l" rtl="0" fontAlgn="base">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2pPr>
      <a:lvl3pPr marL="903288"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3pPr>
      <a:lvl4pPr marL="1262063" indent="-177800"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4pPr>
      <a:lvl5pPr marL="1622425"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5pPr>
      <a:lvl6pPr marL="20796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black">
          <a:xfrm>
            <a:off x="1200150" y="332656"/>
            <a:ext cx="10512000" cy="720000"/>
          </a:xfrm>
          <a:prstGeom prst="rect">
            <a:avLst/>
          </a:prstGeom>
        </p:spPr>
        <p:txBody>
          <a:bodyPr vert="horz" lIns="0" tIns="28800" rIns="0" bIns="0" rtlCol="0" anchor="t">
            <a:noAutofit/>
          </a:bodyPr>
          <a:lstStyle/>
          <a:p>
            <a:r>
              <a:rPr lang="en-GB"/>
              <a:t>Click to edit title</a:t>
            </a:r>
          </a:p>
        </p:txBody>
      </p:sp>
      <p:sp>
        <p:nvSpPr>
          <p:cNvPr id="3" name="Textplatzhalter 2"/>
          <p:cNvSpPr>
            <a:spLocks noGrp="1"/>
          </p:cNvSpPr>
          <p:nvPr>
            <p:ph type="body" idx="1"/>
          </p:nvPr>
        </p:nvSpPr>
        <p:spPr bwMode="black">
          <a:xfrm>
            <a:off x="1200150" y="1484015"/>
            <a:ext cx="10512000" cy="4897313"/>
          </a:xfrm>
          <a:prstGeom prst="rect">
            <a:avLst/>
          </a:prstGeom>
        </p:spPr>
        <p:txBody>
          <a:bodyPr vert="horz" lIns="0" tIns="0" rIns="0" bIns="0" rtlCol="0">
            <a:noAutofit/>
          </a:body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3"/>
          </p:nvPr>
        </p:nvSpPr>
        <p:spPr bwMode="black">
          <a:xfrm rot="16200000">
            <a:off x="-1645271" y="3392999"/>
            <a:ext cx="4105278" cy="287903"/>
          </a:xfrm>
          <a:prstGeom prst="rect">
            <a:avLst/>
          </a:prstGeom>
        </p:spPr>
        <p:txBody>
          <a:bodyPr vert="horz" lIns="0" tIns="0" rIns="0" bIns="0" rtlCol="0" anchor="ctr">
            <a:noAutofit/>
          </a:bodyPr>
          <a:lstStyle>
            <a:lvl1pPr algn="l">
              <a:defRPr sz="700">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4"/>
          </p:nvPr>
        </p:nvSpPr>
        <p:spPr bwMode="black">
          <a:xfrm flipH="1">
            <a:off x="191344" y="6093336"/>
            <a:ext cx="432048" cy="360000"/>
          </a:xfrm>
          <a:prstGeom prst="rect">
            <a:avLst/>
          </a:prstGeom>
        </p:spPr>
        <p:txBody>
          <a:bodyPr vert="horz" lIns="0" tIns="0" rIns="0" bIns="14400" rtlCol="0" anchor="b">
            <a:noAutofit/>
          </a:bodyPr>
          <a:lstStyle>
            <a:lvl1pPr algn="ctr">
              <a:defRPr sz="1600">
                <a:solidFill>
                  <a:schemeClr val="tx1"/>
                </a:solidFill>
              </a:defRPr>
            </a:lvl1pPr>
          </a:lstStyle>
          <a:p>
            <a:fld id="{8FF9B0DE-3FEB-4AA0-B465-B80EF7C1333D}" type="slidenum">
              <a:rPr lang="en-GB" smtClean="0"/>
              <a:pPr/>
              <a:t>‹#›</a:t>
            </a:fld>
            <a:endParaRPr lang="en-GB"/>
          </a:p>
        </p:txBody>
      </p:sp>
      <p:pic>
        <p:nvPicPr>
          <p:cNvPr id="28" name="Picture 27">
            <a:extLst>
              <a:ext uri="{FF2B5EF4-FFF2-40B4-BE49-F238E27FC236}">
                <a16:creationId xmlns:a16="http://schemas.microsoft.com/office/drawing/2014/main" id="{F5EAD1F8-D385-4F7B-B8F3-539267025C3B}"/>
              </a:ext>
            </a:extLst>
          </p:cNvPr>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grpSp>
        <p:nvGrpSpPr>
          <p:cNvPr id="22" name="Gruppieren 24">
            <a:extLst>
              <a:ext uri="{FF2B5EF4-FFF2-40B4-BE49-F238E27FC236}">
                <a16:creationId xmlns:a16="http://schemas.microsoft.com/office/drawing/2014/main" id="{312B57C8-CC79-40AA-8AA4-6CB66F54872B}"/>
              </a:ext>
            </a:extLst>
          </p:cNvPr>
          <p:cNvGrpSpPr/>
          <p:nvPr userDrawn="1"/>
        </p:nvGrpSpPr>
        <p:grpSpPr bwMode="gray">
          <a:xfrm>
            <a:off x="-168688" y="404664"/>
            <a:ext cx="72000" cy="5976664"/>
            <a:chOff x="-456728" y="404664"/>
            <a:chExt cx="216000" cy="5976664"/>
          </a:xfrm>
        </p:grpSpPr>
        <p:cxnSp>
          <p:nvCxnSpPr>
            <p:cNvPr id="26" name="Gerader Verbinder 22">
              <a:extLst>
                <a:ext uri="{FF2B5EF4-FFF2-40B4-BE49-F238E27FC236}">
                  <a16:creationId xmlns:a16="http://schemas.microsoft.com/office/drawing/2014/main" id="{CA530E4D-6A1D-440A-A92A-58B79E86CAA4}"/>
                </a:ext>
              </a:extLst>
            </p:cNvPr>
            <p:cNvCxnSpPr>
              <a:cxnSpLocks/>
            </p:cNvCxnSpPr>
            <p:nvPr userDrawn="1"/>
          </p:nvCxnSpPr>
          <p:spPr bwMode="gray">
            <a:xfrm>
              <a:off x="-456728" y="4046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3">
              <a:extLst>
                <a:ext uri="{FF2B5EF4-FFF2-40B4-BE49-F238E27FC236}">
                  <a16:creationId xmlns:a16="http://schemas.microsoft.com/office/drawing/2014/main" id="{41000BC1-4CED-4E84-B948-0C3FBB61C61C}"/>
                </a:ext>
              </a:extLst>
            </p:cNvPr>
            <p:cNvCxnSpPr/>
            <p:nvPr userDrawn="1"/>
          </p:nvCxnSpPr>
          <p:spPr bwMode="gray">
            <a:xfrm>
              <a:off x="-456728" y="638132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2">
              <a:extLst>
                <a:ext uri="{FF2B5EF4-FFF2-40B4-BE49-F238E27FC236}">
                  <a16:creationId xmlns:a16="http://schemas.microsoft.com/office/drawing/2014/main" id="{A5C6A947-9107-449C-B734-B1EBC6B45977}"/>
                </a:ext>
              </a:extLst>
            </p:cNvPr>
            <p:cNvCxnSpPr>
              <a:cxnSpLocks/>
            </p:cNvCxnSpPr>
            <p:nvPr userDrawn="1"/>
          </p:nvCxnSpPr>
          <p:spPr bwMode="gray">
            <a:xfrm>
              <a:off x="-456728" y="148478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Gruppieren 20">
            <a:extLst>
              <a:ext uri="{FF2B5EF4-FFF2-40B4-BE49-F238E27FC236}">
                <a16:creationId xmlns:a16="http://schemas.microsoft.com/office/drawing/2014/main" id="{C68B8BB5-A052-4302-8C36-A7347B54D093}"/>
              </a:ext>
            </a:extLst>
          </p:cNvPr>
          <p:cNvGrpSpPr/>
          <p:nvPr userDrawn="1"/>
        </p:nvGrpSpPr>
        <p:grpSpPr bwMode="black">
          <a:xfrm>
            <a:off x="1199456" y="-171400"/>
            <a:ext cx="10513168" cy="72000"/>
            <a:chOff x="1199456" y="-243408"/>
            <a:chExt cx="10513168" cy="216000"/>
          </a:xfrm>
        </p:grpSpPr>
        <p:cxnSp>
          <p:nvCxnSpPr>
            <p:cNvPr id="31" name="Gerader Verbinder 12">
              <a:extLst>
                <a:ext uri="{FF2B5EF4-FFF2-40B4-BE49-F238E27FC236}">
                  <a16:creationId xmlns:a16="http://schemas.microsoft.com/office/drawing/2014/main" id="{0BBDD4DC-2F5E-4921-A28A-16256894A83A}"/>
                </a:ext>
              </a:extLst>
            </p:cNvPr>
            <p:cNvCxnSpPr/>
            <p:nvPr userDrawn="1"/>
          </p:nvCxnSpPr>
          <p:spPr bwMode="black">
            <a:xfrm>
              <a:off x="11994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r Verbinder 13">
              <a:extLst>
                <a:ext uri="{FF2B5EF4-FFF2-40B4-BE49-F238E27FC236}">
                  <a16:creationId xmlns:a16="http://schemas.microsoft.com/office/drawing/2014/main" id="{387E5392-44DA-4D9C-9F10-E50075FC9154}"/>
                </a:ext>
              </a:extLst>
            </p:cNvPr>
            <p:cNvCxnSpPr/>
            <p:nvPr userDrawn="1"/>
          </p:nvCxnSpPr>
          <p:spPr bwMode="black">
            <a:xfrm>
              <a:off x="45118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r Verbinder 14">
              <a:extLst>
                <a:ext uri="{FF2B5EF4-FFF2-40B4-BE49-F238E27FC236}">
                  <a16:creationId xmlns:a16="http://schemas.microsoft.com/office/drawing/2014/main" id="{038593D0-2B60-40E3-93F2-262F8CC888AA}"/>
                </a:ext>
              </a:extLst>
            </p:cNvPr>
            <p:cNvCxnSpPr/>
            <p:nvPr userDrawn="1"/>
          </p:nvCxnSpPr>
          <p:spPr bwMode="black">
            <a:xfrm>
              <a:off x="47998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r Verbinder 15">
              <a:extLst>
                <a:ext uri="{FF2B5EF4-FFF2-40B4-BE49-F238E27FC236}">
                  <a16:creationId xmlns:a16="http://schemas.microsoft.com/office/drawing/2014/main" id="{8953402E-258F-4450-AB76-4174CBC5B640}"/>
                </a:ext>
              </a:extLst>
            </p:cNvPr>
            <p:cNvCxnSpPr/>
            <p:nvPr userDrawn="1"/>
          </p:nvCxnSpPr>
          <p:spPr bwMode="black">
            <a:xfrm>
              <a:off x="63120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Gerader Verbinder 16">
              <a:extLst>
                <a:ext uri="{FF2B5EF4-FFF2-40B4-BE49-F238E27FC236}">
                  <a16:creationId xmlns:a16="http://schemas.microsoft.com/office/drawing/2014/main" id="{E0A7F052-1C09-4A7C-9370-039CD8902FFA}"/>
                </a:ext>
              </a:extLst>
            </p:cNvPr>
            <p:cNvCxnSpPr/>
            <p:nvPr userDrawn="1"/>
          </p:nvCxnSpPr>
          <p:spPr bwMode="black">
            <a:xfrm>
              <a:off x="66000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Gerader Verbinder 17">
              <a:extLst>
                <a:ext uri="{FF2B5EF4-FFF2-40B4-BE49-F238E27FC236}">
                  <a16:creationId xmlns:a16="http://schemas.microsoft.com/office/drawing/2014/main" id="{CAC11A3C-8D30-4CD1-A9F1-01713888DC5B}"/>
                </a:ext>
              </a:extLst>
            </p:cNvPr>
            <p:cNvCxnSpPr/>
            <p:nvPr userDrawn="1"/>
          </p:nvCxnSpPr>
          <p:spPr bwMode="black">
            <a:xfrm>
              <a:off x="81122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18">
              <a:extLst>
                <a:ext uri="{FF2B5EF4-FFF2-40B4-BE49-F238E27FC236}">
                  <a16:creationId xmlns:a16="http://schemas.microsoft.com/office/drawing/2014/main" id="{1561F3C7-9D7D-4E3B-BD9E-A0E0CCC1BB4D}"/>
                </a:ext>
              </a:extLst>
            </p:cNvPr>
            <p:cNvCxnSpPr/>
            <p:nvPr userDrawn="1"/>
          </p:nvCxnSpPr>
          <p:spPr bwMode="black">
            <a:xfrm>
              <a:off x="84002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r Verbinder 19">
              <a:extLst>
                <a:ext uri="{FF2B5EF4-FFF2-40B4-BE49-F238E27FC236}">
                  <a16:creationId xmlns:a16="http://schemas.microsoft.com/office/drawing/2014/main" id="{3DB0CF6B-3782-471C-855D-AC7156B1FC4C}"/>
                </a:ext>
              </a:extLst>
            </p:cNvPr>
            <p:cNvCxnSpPr/>
            <p:nvPr userDrawn="1"/>
          </p:nvCxnSpPr>
          <p:spPr bwMode="black">
            <a:xfrm>
              <a:off x="117126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Gerader Verbinder 13">
              <a:extLst>
                <a:ext uri="{FF2B5EF4-FFF2-40B4-BE49-F238E27FC236}">
                  <a16:creationId xmlns:a16="http://schemas.microsoft.com/office/drawing/2014/main" id="{2E9AEC7D-A7E2-4653-9EA9-1D23D8079F01}"/>
                </a:ext>
              </a:extLst>
            </p:cNvPr>
            <p:cNvCxnSpPr/>
            <p:nvPr userDrawn="1"/>
          </p:nvCxnSpPr>
          <p:spPr bwMode="black">
            <a:xfrm>
              <a:off x="36117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14">
              <a:extLst>
                <a:ext uri="{FF2B5EF4-FFF2-40B4-BE49-F238E27FC236}">
                  <a16:creationId xmlns:a16="http://schemas.microsoft.com/office/drawing/2014/main" id="{8E8724AC-A11A-4D85-9E2A-D4FF98B41AEB}"/>
                </a:ext>
              </a:extLst>
            </p:cNvPr>
            <p:cNvCxnSpPr/>
            <p:nvPr userDrawn="1"/>
          </p:nvCxnSpPr>
          <p:spPr bwMode="black">
            <a:xfrm>
              <a:off x="38997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Gerader Verbinder 17">
              <a:extLst>
                <a:ext uri="{FF2B5EF4-FFF2-40B4-BE49-F238E27FC236}">
                  <a16:creationId xmlns:a16="http://schemas.microsoft.com/office/drawing/2014/main" id="{EA29EE29-0A4A-4211-91D5-77203B3EF25D}"/>
                </a:ext>
              </a:extLst>
            </p:cNvPr>
            <p:cNvCxnSpPr/>
            <p:nvPr userDrawn="1"/>
          </p:nvCxnSpPr>
          <p:spPr bwMode="black">
            <a:xfrm>
              <a:off x="90123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r Verbinder 18">
              <a:extLst>
                <a:ext uri="{FF2B5EF4-FFF2-40B4-BE49-F238E27FC236}">
                  <a16:creationId xmlns:a16="http://schemas.microsoft.com/office/drawing/2014/main" id="{64CF9FB5-CE38-42DD-A4E5-AD6CCCFD7CE3}"/>
                </a:ext>
              </a:extLst>
            </p:cNvPr>
            <p:cNvCxnSpPr/>
            <p:nvPr userDrawn="1"/>
          </p:nvCxnSpPr>
          <p:spPr bwMode="black">
            <a:xfrm>
              <a:off x="93003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99955599"/>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7" r:id="rId20"/>
    <p:sldLayoutId id="2147483838" r:id="rId21"/>
  </p:sldLayoutIdLst>
  <p:hf hdr="0"/>
  <p:txStyles>
    <p:title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
          <p15:clr>
            <a:srgbClr val="547EBF"/>
          </p15:clr>
        </p15:guide>
        <p15:guide id="5" pos="7378">
          <p15:clr>
            <a:srgbClr val="547EBF"/>
          </p15:clr>
        </p15:guide>
        <p15:guide id="11" orient="horz" pos="4020">
          <p15:clr>
            <a:srgbClr val="547EBF"/>
          </p15:clr>
        </p15:guide>
        <p15:guide id="14" orient="horz" pos="935">
          <p15:clr>
            <a:srgbClr val="547EBF"/>
          </p15:clr>
        </p15:guide>
        <p15:guide id="15" orient="horz" pos="255">
          <p15:clr>
            <a:srgbClr val="547EBF"/>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black">
          <a:xfrm>
            <a:off x="1200150" y="332656"/>
            <a:ext cx="10512000" cy="720000"/>
          </a:xfrm>
          <a:prstGeom prst="rect">
            <a:avLst/>
          </a:prstGeom>
        </p:spPr>
        <p:txBody>
          <a:bodyPr vert="horz" lIns="0" tIns="28800" rIns="0" bIns="0" rtlCol="0" anchor="t">
            <a:noAutofit/>
          </a:bodyPr>
          <a:lstStyle/>
          <a:p>
            <a:r>
              <a:rPr lang="en-GB"/>
              <a:t>Click to edit title</a:t>
            </a:r>
          </a:p>
        </p:txBody>
      </p:sp>
      <p:sp>
        <p:nvSpPr>
          <p:cNvPr id="3" name="Textplatzhalter 2"/>
          <p:cNvSpPr>
            <a:spLocks noGrp="1"/>
          </p:cNvSpPr>
          <p:nvPr>
            <p:ph type="body" idx="1"/>
          </p:nvPr>
        </p:nvSpPr>
        <p:spPr bwMode="black">
          <a:xfrm>
            <a:off x="1200150" y="1484015"/>
            <a:ext cx="10512000" cy="4897313"/>
          </a:xfrm>
          <a:prstGeom prst="rect">
            <a:avLst/>
          </a:prstGeom>
        </p:spPr>
        <p:txBody>
          <a:bodyPr vert="horz" lIns="0" tIns="0" rIns="0" bIns="0" rtlCol="0">
            <a:noAutofit/>
          </a:body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3"/>
          </p:nvPr>
        </p:nvSpPr>
        <p:spPr bwMode="black">
          <a:xfrm rot="16200000">
            <a:off x="-1645271" y="3392999"/>
            <a:ext cx="4105278" cy="287903"/>
          </a:xfrm>
          <a:prstGeom prst="rect">
            <a:avLst/>
          </a:prstGeom>
        </p:spPr>
        <p:txBody>
          <a:bodyPr vert="horz" lIns="0" tIns="0" rIns="0" bIns="0" rtlCol="0" anchor="ctr">
            <a:noAutofit/>
          </a:bodyPr>
          <a:lstStyle>
            <a:lvl1pPr algn="l">
              <a:defRPr sz="700">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4"/>
          </p:nvPr>
        </p:nvSpPr>
        <p:spPr bwMode="black">
          <a:xfrm flipH="1">
            <a:off x="191344" y="6093336"/>
            <a:ext cx="432048" cy="360000"/>
          </a:xfrm>
          <a:prstGeom prst="rect">
            <a:avLst/>
          </a:prstGeom>
        </p:spPr>
        <p:txBody>
          <a:bodyPr vert="horz" lIns="0" tIns="0" rIns="0" bIns="14400" rtlCol="0" anchor="b">
            <a:noAutofit/>
          </a:bodyPr>
          <a:lstStyle>
            <a:lvl1pPr algn="ctr">
              <a:defRPr sz="1600">
                <a:solidFill>
                  <a:schemeClr val="tx1"/>
                </a:solidFill>
              </a:defRPr>
            </a:lvl1pPr>
          </a:lstStyle>
          <a:p>
            <a:fld id="{8FF9B0DE-3FEB-4AA0-B465-B80EF7C1333D}" type="slidenum">
              <a:rPr lang="en-GB" smtClean="0"/>
              <a:pPr/>
              <a:t>‹#›</a:t>
            </a:fld>
            <a:endParaRPr lang="en-GB"/>
          </a:p>
        </p:txBody>
      </p:sp>
      <p:pic>
        <p:nvPicPr>
          <p:cNvPr id="28" name="Picture 27">
            <a:extLst>
              <a:ext uri="{FF2B5EF4-FFF2-40B4-BE49-F238E27FC236}">
                <a16:creationId xmlns:a16="http://schemas.microsoft.com/office/drawing/2014/main" id="{F5EAD1F8-D385-4F7B-B8F3-539267025C3B}"/>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grpSp>
        <p:nvGrpSpPr>
          <p:cNvPr id="22" name="Gruppieren 24">
            <a:extLst>
              <a:ext uri="{FF2B5EF4-FFF2-40B4-BE49-F238E27FC236}">
                <a16:creationId xmlns:a16="http://schemas.microsoft.com/office/drawing/2014/main" id="{312B57C8-CC79-40AA-8AA4-6CB66F54872B}"/>
              </a:ext>
            </a:extLst>
          </p:cNvPr>
          <p:cNvGrpSpPr/>
          <p:nvPr userDrawn="1"/>
        </p:nvGrpSpPr>
        <p:grpSpPr bwMode="gray">
          <a:xfrm>
            <a:off x="-168688" y="404664"/>
            <a:ext cx="72000" cy="5976664"/>
            <a:chOff x="-456728" y="404664"/>
            <a:chExt cx="216000" cy="5976664"/>
          </a:xfrm>
        </p:grpSpPr>
        <p:cxnSp>
          <p:nvCxnSpPr>
            <p:cNvPr id="26" name="Gerader Verbinder 22">
              <a:extLst>
                <a:ext uri="{FF2B5EF4-FFF2-40B4-BE49-F238E27FC236}">
                  <a16:creationId xmlns:a16="http://schemas.microsoft.com/office/drawing/2014/main" id="{CA530E4D-6A1D-440A-A92A-58B79E86CAA4}"/>
                </a:ext>
              </a:extLst>
            </p:cNvPr>
            <p:cNvCxnSpPr>
              <a:cxnSpLocks/>
            </p:cNvCxnSpPr>
            <p:nvPr userDrawn="1"/>
          </p:nvCxnSpPr>
          <p:spPr bwMode="gray">
            <a:xfrm>
              <a:off x="-456728" y="4046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3">
              <a:extLst>
                <a:ext uri="{FF2B5EF4-FFF2-40B4-BE49-F238E27FC236}">
                  <a16:creationId xmlns:a16="http://schemas.microsoft.com/office/drawing/2014/main" id="{41000BC1-4CED-4E84-B948-0C3FBB61C61C}"/>
                </a:ext>
              </a:extLst>
            </p:cNvPr>
            <p:cNvCxnSpPr/>
            <p:nvPr userDrawn="1"/>
          </p:nvCxnSpPr>
          <p:spPr bwMode="gray">
            <a:xfrm>
              <a:off x="-456728" y="638132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2">
              <a:extLst>
                <a:ext uri="{FF2B5EF4-FFF2-40B4-BE49-F238E27FC236}">
                  <a16:creationId xmlns:a16="http://schemas.microsoft.com/office/drawing/2014/main" id="{A5C6A947-9107-449C-B734-B1EBC6B45977}"/>
                </a:ext>
              </a:extLst>
            </p:cNvPr>
            <p:cNvCxnSpPr>
              <a:cxnSpLocks/>
            </p:cNvCxnSpPr>
            <p:nvPr userDrawn="1"/>
          </p:nvCxnSpPr>
          <p:spPr bwMode="gray">
            <a:xfrm>
              <a:off x="-456728" y="148478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Gruppieren 20">
            <a:extLst>
              <a:ext uri="{FF2B5EF4-FFF2-40B4-BE49-F238E27FC236}">
                <a16:creationId xmlns:a16="http://schemas.microsoft.com/office/drawing/2014/main" id="{C68B8BB5-A052-4302-8C36-A7347B54D093}"/>
              </a:ext>
            </a:extLst>
          </p:cNvPr>
          <p:cNvGrpSpPr/>
          <p:nvPr userDrawn="1"/>
        </p:nvGrpSpPr>
        <p:grpSpPr bwMode="black">
          <a:xfrm>
            <a:off x="1199456" y="-171400"/>
            <a:ext cx="10513168" cy="72000"/>
            <a:chOff x="1199456" y="-243408"/>
            <a:chExt cx="10513168" cy="216000"/>
          </a:xfrm>
        </p:grpSpPr>
        <p:cxnSp>
          <p:nvCxnSpPr>
            <p:cNvPr id="31" name="Gerader Verbinder 12">
              <a:extLst>
                <a:ext uri="{FF2B5EF4-FFF2-40B4-BE49-F238E27FC236}">
                  <a16:creationId xmlns:a16="http://schemas.microsoft.com/office/drawing/2014/main" id="{0BBDD4DC-2F5E-4921-A28A-16256894A83A}"/>
                </a:ext>
              </a:extLst>
            </p:cNvPr>
            <p:cNvCxnSpPr/>
            <p:nvPr userDrawn="1"/>
          </p:nvCxnSpPr>
          <p:spPr bwMode="black">
            <a:xfrm>
              <a:off x="11994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r Verbinder 13">
              <a:extLst>
                <a:ext uri="{FF2B5EF4-FFF2-40B4-BE49-F238E27FC236}">
                  <a16:creationId xmlns:a16="http://schemas.microsoft.com/office/drawing/2014/main" id="{387E5392-44DA-4D9C-9F10-E50075FC9154}"/>
                </a:ext>
              </a:extLst>
            </p:cNvPr>
            <p:cNvCxnSpPr/>
            <p:nvPr userDrawn="1"/>
          </p:nvCxnSpPr>
          <p:spPr bwMode="black">
            <a:xfrm>
              <a:off x="45118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r Verbinder 14">
              <a:extLst>
                <a:ext uri="{FF2B5EF4-FFF2-40B4-BE49-F238E27FC236}">
                  <a16:creationId xmlns:a16="http://schemas.microsoft.com/office/drawing/2014/main" id="{038593D0-2B60-40E3-93F2-262F8CC888AA}"/>
                </a:ext>
              </a:extLst>
            </p:cNvPr>
            <p:cNvCxnSpPr/>
            <p:nvPr userDrawn="1"/>
          </p:nvCxnSpPr>
          <p:spPr bwMode="black">
            <a:xfrm>
              <a:off x="47998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r Verbinder 15">
              <a:extLst>
                <a:ext uri="{FF2B5EF4-FFF2-40B4-BE49-F238E27FC236}">
                  <a16:creationId xmlns:a16="http://schemas.microsoft.com/office/drawing/2014/main" id="{8953402E-258F-4450-AB76-4174CBC5B640}"/>
                </a:ext>
              </a:extLst>
            </p:cNvPr>
            <p:cNvCxnSpPr/>
            <p:nvPr userDrawn="1"/>
          </p:nvCxnSpPr>
          <p:spPr bwMode="black">
            <a:xfrm>
              <a:off x="63120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Gerader Verbinder 16">
              <a:extLst>
                <a:ext uri="{FF2B5EF4-FFF2-40B4-BE49-F238E27FC236}">
                  <a16:creationId xmlns:a16="http://schemas.microsoft.com/office/drawing/2014/main" id="{E0A7F052-1C09-4A7C-9370-039CD8902FFA}"/>
                </a:ext>
              </a:extLst>
            </p:cNvPr>
            <p:cNvCxnSpPr/>
            <p:nvPr userDrawn="1"/>
          </p:nvCxnSpPr>
          <p:spPr bwMode="black">
            <a:xfrm>
              <a:off x="66000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Gerader Verbinder 17">
              <a:extLst>
                <a:ext uri="{FF2B5EF4-FFF2-40B4-BE49-F238E27FC236}">
                  <a16:creationId xmlns:a16="http://schemas.microsoft.com/office/drawing/2014/main" id="{CAC11A3C-8D30-4CD1-A9F1-01713888DC5B}"/>
                </a:ext>
              </a:extLst>
            </p:cNvPr>
            <p:cNvCxnSpPr/>
            <p:nvPr userDrawn="1"/>
          </p:nvCxnSpPr>
          <p:spPr bwMode="black">
            <a:xfrm>
              <a:off x="81122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18">
              <a:extLst>
                <a:ext uri="{FF2B5EF4-FFF2-40B4-BE49-F238E27FC236}">
                  <a16:creationId xmlns:a16="http://schemas.microsoft.com/office/drawing/2014/main" id="{1561F3C7-9D7D-4E3B-BD9E-A0E0CCC1BB4D}"/>
                </a:ext>
              </a:extLst>
            </p:cNvPr>
            <p:cNvCxnSpPr/>
            <p:nvPr userDrawn="1"/>
          </p:nvCxnSpPr>
          <p:spPr bwMode="black">
            <a:xfrm>
              <a:off x="84002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r Verbinder 19">
              <a:extLst>
                <a:ext uri="{FF2B5EF4-FFF2-40B4-BE49-F238E27FC236}">
                  <a16:creationId xmlns:a16="http://schemas.microsoft.com/office/drawing/2014/main" id="{3DB0CF6B-3782-471C-855D-AC7156B1FC4C}"/>
                </a:ext>
              </a:extLst>
            </p:cNvPr>
            <p:cNvCxnSpPr/>
            <p:nvPr userDrawn="1"/>
          </p:nvCxnSpPr>
          <p:spPr bwMode="black">
            <a:xfrm>
              <a:off x="117126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Gerader Verbinder 13">
              <a:extLst>
                <a:ext uri="{FF2B5EF4-FFF2-40B4-BE49-F238E27FC236}">
                  <a16:creationId xmlns:a16="http://schemas.microsoft.com/office/drawing/2014/main" id="{2E9AEC7D-A7E2-4653-9EA9-1D23D8079F01}"/>
                </a:ext>
              </a:extLst>
            </p:cNvPr>
            <p:cNvCxnSpPr/>
            <p:nvPr userDrawn="1"/>
          </p:nvCxnSpPr>
          <p:spPr bwMode="black">
            <a:xfrm>
              <a:off x="36117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14">
              <a:extLst>
                <a:ext uri="{FF2B5EF4-FFF2-40B4-BE49-F238E27FC236}">
                  <a16:creationId xmlns:a16="http://schemas.microsoft.com/office/drawing/2014/main" id="{8E8724AC-A11A-4D85-9E2A-D4FF98B41AEB}"/>
                </a:ext>
              </a:extLst>
            </p:cNvPr>
            <p:cNvCxnSpPr/>
            <p:nvPr userDrawn="1"/>
          </p:nvCxnSpPr>
          <p:spPr bwMode="black">
            <a:xfrm>
              <a:off x="38997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Gerader Verbinder 17">
              <a:extLst>
                <a:ext uri="{FF2B5EF4-FFF2-40B4-BE49-F238E27FC236}">
                  <a16:creationId xmlns:a16="http://schemas.microsoft.com/office/drawing/2014/main" id="{EA29EE29-0A4A-4211-91D5-77203B3EF25D}"/>
                </a:ext>
              </a:extLst>
            </p:cNvPr>
            <p:cNvCxnSpPr/>
            <p:nvPr userDrawn="1"/>
          </p:nvCxnSpPr>
          <p:spPr bwMode="black">
            <a:xfrm>
              <a:off x="90123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r Verbinder 18">
              <a:extLst>
                <a:ext uri="{FF2B5EF4-FFF2-40B4-BE49-F238E27FC236}">
                  <a16:creationId xmlns:a16="http://schemas.microsoft.com/office/drawing/2014/main" id="{64CF9FB5-CE38-42DD-A4E5-AD6CCCFD7CE3}"/>
                </a:ext>
              </a:extLst>
            </p:cNvPr>
            <p:cNvCxnSpPr/>
            <p:nvPr userDrawn="1"/>
          </p:nvCxnSpPr>
          <p:spPr bwMode="black">
            <a:xfrm>
              <a:off x="93003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42858334"/>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Lst>
  <p:hf hdr="0" dt="0"/>
  <p:txStyles>
    <p:title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
          <p15:clr>
            <a:srgbClr val="547EBF"/>
          </p15:clr>
        </p15:guide>
        <p15:guide id="5" pos="7378">
          <p15:clr>
            <a:srgbClr val="547EBF"/>
          </p15:clr>
        </p15:guide>
        <p15:guide id="11" orient="horz" pos="4020">
          <p15:clr>
            <a:srgbClr val="547EBF"/>
          </p15:clr>
        </p15:guide>
        <p15:guide id="14" orient="horz" pos="935">
          <p15:clr>
            <a:srgbClr val="547EBF"/>
          </p15:clr>
        </p15:guide>
        <p15:guide id="15" orient="horz" pos="255">
          <p15:clr>
            <a:srgbClr val="547EBF"/>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Layout" Target="../slideLayouts/slideLayout90.xml"/><Relationship Id="rId1" Type="http://schemas.openxmlformats.org/officeDocument/2006/relationships/tags" Target="../tags/tag15.xml"/><Relationship Id="rId4" Type="http://schemas.openxmlformats.org/officeDocument/2006/relationships/image" Target="../media/image49.svg"/></Relationships>
</file>

<file path=ppt/slides/_rels/slide11.xml.rels><?xml version="1.0" encoding="UTF-8" standalone="yes"?>
<Relationships xmlns="http://schemas.openxmlformats.org/package/2006/relationships"><Relationship Id="rId3" Type="http://schemas.openxmlformats.org/officeDocument/2006/relationships/hyperlink" Target="https://datatracker.ietf.org/doc/html/draft-ietf-opsawg-ipfix-on-path-telemetry" TargetMode="External"/><Relationship Id="rId7" Type="http://schemas.openxmlformats.org/officeDocument/2006/relationships/hyperlink" Target="https://datatracker.ietf.org/doc/html/draft-spiegel-ippm-ioam-rawexport" TargetMode="External"/><Relationship Id="rId2" Type="http://schemas.openxmlformats.org/officeDocument/2006/relationships/hyperlink" Target="https://datatracker.ietf.org/doc/html/rfc9487" TargetMode="External"/><Relationship Id="rId1" Type="http://schemas.openxmlformats.org/officeDocument/2006/relationships/slideLayout" Target="../slideLayouts/slideLayout90.xml"/><Relationship Id="rId6" Type="http://schemas.openxmlformats.org/officeDocument/2006/relationships/hyperlink" Target="https://datatracker.ietf.org/doc/html/draft-gfz-opsawg-ipfix-alt-mark" TargetMode="External"/><Relationship Id="rId5" Type="http://schemas.openxmlformats.org/officeDocument/2006/relationships/hyperlink" Target="https://datatracker.ietf.org/doc/html/rfc9341" TargetMode="External"/><Relationship Id="rId4" Type="http://schemas.openxmlformats.org/officeDocument/2006/relationships/hyperlink" Target="https://datatracker.ietf.org/doc/html/rfc9378"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5.xm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notesSlide" Target="../notesSlides/notesSlide11.xml"/><Relationship Id="rId1" Type="http://schemas.openxmlformats.org/officeDocument/2006/relationships/slideLayout" Target="../slideLayouts/slideLayout109.xml"/><Relationship Id="rId5" Type="http://schemas.openxmlformats.org/officeDocument/2006/relationships/image" Target="../media/image51.emf"/><Relationship Id="rId4" Type="http://schemas.openxmlformats.org/officeDocument/2006/relationships/image" Target="../media/image50.png"/></Relationships>
</file>

<file path=ppt/slides/_rels/slide1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12.xml"/><Relationship Id="rId7" Type="http://schemas.openxmlformats.org/officeDocument/2006/relationships/image" Target="../media/image49.svg"/><Relationship Id="rId2" Type="http://schemas.openxmlformats.org/officeDocument/2006/relationships/slideLayout" Target="../slideLayouts/slideLayout108.xml"/><Relationship Id="rId1" Type="http://schemas.openxmlformats.org/officeDocument/2006/relationships/tags" Target="../tags/tag16.xml"/><Relationship Id="rId6" Type="http://schemas.openxmlformats.org/officeDocument/2006/relationships/image" Target="../media/image48.png"/><Relationship Id="rId5" Type="http://schemas.openxmlformats.org/officeDocument/2006/relationships/image" Target="../media/image53.svg"/><Relationship Id="rId10" Type="http://schemas.openxmlformats.org/officeDocument/2006/relationships/image" Target="../media/image56.png"/><Relationship Id="rId4" Type="http://schemas.openxmlformats.org/officeDocument/2006/relationships/image" Target="../media/image52.png"/><Relationship Id="rId9" Type="http://schemas.openxmlformats.org/officeDocument/2006/relationships/image" Target="../media/image55.svg"/></Relationships>
</file>

<file path=ppt/slides/_rels/slide15.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notesSlide" Target="../notesSlides/notesSlide13.xml"/><Relationship Id="rId7" Type="http://schemas.openxmlformats.org/officeDocument/2006/relationships/image" Target="../media/image48.png"/><Relationship Id="rId2" Type="http://schemas.openxmlformats.org/officeDocument/2006/relationships/slideLayout" Target="../slideLayouts/slideLayout108.xml"/><Relationship Id="rId1" Type="http://schemas.openxmlformats.org/officeDocument/2006/relationships/tags" Target="../tags/tag17.xml"/><Relationship Id="rId6" Type="http://schemas.openxmlformats.org/officeDocument/2006/relationships/image" Target="../media/image53.svg"/><Relationship Id="rId5" Type="http://schemas.openxmlformats.org/officeDocument/2006/relationships/image" Target="../media/image52.png"/><Relationship Id="rId10" Type="http://schemas.openxmlformats.org/officeDocument/2006/relationships/image" Target="../media/image55.svg"/><Relationship Id="rId4" Type="http://schemas.openxmlformats.org/officeDocument/2006/relationships/image" Target="../media/image57.png"/><Relationship Id="rId9" Type="http://schemas.openxmlformats.org/officeDocument/2006/relationships/image" Target="../media/image54.png"/></Relationships>
</file>

<file path=ppt/slides/_rels/slide16.xml.rels><?xml version="1.0" encoding="UTF-8" standalone="yes"?>
<Relationships xmlns="http://schemas.openxmlformats.org/package/2006/relationships"><Relationship Id="rId3" Type="http://schemas.openxmlformats.org/officeDocument/2006/relationships/hyperlink" Target="https://tools.ietf.org/html/rfc8671" TargetMode="External"/><Relationship Id="rId2" Type="http://schemas.openxmlformats.org/officeDocument/2006/relationships/notesSlide" Target="../notesSlides/notesSlide14.xml"/><Relationship Id="rId1" Type="http://schemas.openxmlformats.org/officeDocument/2006/relationships/slideLayout" Target="../slideLayouts/slideLayout103.xml"/><Relationship Id="rId5" Type="http://schemas.openxmlformats.org/officeDocument/2006/relationships/image" Target="../media/image58.emf"/><Relationship Id="rId4" Type="http://schemas.openxmlformats.org/officeDocument/2006/relationships/hyperlink" Target="https://datatracker.ietf.org/doc/html/rfc9069"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tools.ietf.org/html/draft-lucente-grow-bmp-tlv-ebit-01" TargetMode="External"/><Relationship Id="rId7" Type="http://schemas.openxmlformats.org/officeDocument/2006/relationships/hyperlink" Target="https://tools.ietf.org/html/draft-ietf-grow-bmp-tlv" TargetMode="External"/><Relationship Id="rId2" Type="http://schemas.openxmlformats.org/officeDocument/2006/relationships/notesSlide" Target="../notesSlides/notesSlide15.xml"/><Relationship Id="rId1" Type="http://schemas.openxmlformats.org/officeDocument/2006/relationships/slideLayout" Target="../slideLayouts/slideLayout103.xml"/><Relationship Id="rId6" Type="http://schemas.openxmlformats.org/officeDocument/2006/relationships/hyperlink" Target="https://datatracker.ietf.org/doc/html/draft-ietf-grow-bmp-rel" TargetMode="External"/><Relationship Id="rId5" Type="http://schemas.openxmlformats.org/officeDocument/2006/relationships/image" Target="../media/image58.emf"/><Relationship Id="rId4" Type="http://schemas.openxmlformats.org/officeDocument/2006/relationships/hyperlink" Target="https://tools.ietf.org/html/draft-cppy-grow-bmp-path-marking-tlv"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0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5.xml"/></Relationships>
</file>

<file path=ppt/slides/_rels/slide4.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08.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s/_rels/slide5.xml.rels><?xml version="1.0" encoding="UTF-8" standalone="yes"?>
<Relationships xmlns="http://schemas.openxmlformats.org/package/2006/relationships"><Relationship Id="rId3" Type="http://schemas.openxmlformats.org/officeDocument/2006/relationships/hyperlink" Target="https://datatracker.ietf.org/doc/html/rfc9160" TargetMode="External"/><Relationship Id="rId2" Type="http://schemas.openxmlformats.org/officeDocument/2006/relationships/notesSlide" Target="../notesSlides/notesSlide5.xml"/><Relationship Id="rId1" Type="http://schemas.openxmlformats.org/officeDocument/2006/relationships/slideLayout" Target="../slideLayouts/slideLayout103.xml"/><Relationship Id="rId6" Type="http://schemas.openxmlformats.org/officeDocument/2006/relationships/image" Target="../media/image36.emf"/><Relationship Id="rId5" Type="http://schemas.openxmlformats.org/officeDocument/2006/relationships/hyperlink" Target="https://datatracker.ietf.org/doc/html/draft-ietf-opsawg-ipfix-on-path-telemetry" TargetMode="External"/><Relationship Id="rId4" Type="http://schemas.openxmlformats.org/officeDocument/2006/relationships/hyperlink" Target="https://datatracker.ietf.org/doc/html/rfc9487"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11.xml"/></Relationships>
</file>

<file path=ppt/slides/_rels/slide7.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7.xml"/><Relationship Id="rId1" Type="http://schemas.openxmlformats.org/officeDocument/2006/relationships/slideLayout" Target="../slideLayouts/slideLayout111.xml"/></Relationships>
</file>

<file path=ppt/slides/_rels/slide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8.xml"/><Relationship Id="rId7" Type="http://schemas.openxmlformats.org/officeDocument/2006/relationships/image" Target="../media/image42.svg"/><Relationship Id="rId2" Type="http://schemas.openxmlformats.org/officeDocument/2006/relationships/slideLayout" Target="../slideLayouts/slideLayout103.xml"/><Relationship Id="rId1" Type="http://schemas.openxmlformats.org/officeDocument/2006/relationships/tags" Target="../tags/tag14.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40.sv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svg"/></Relationships>
</file>

<file path=ppt/slides/_rels/slide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9.xml"/><Relationship Id="rId1" Type="http://schemas.openxmlformats.org/officeDocument/2006/relationships/slideLayout" Target="../slideLayouts/slideLayout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descr="A picture containing snow, dark, night&#10;&#10;Description automatically generated">
            <a:extLst>
              <a:ext uri="{FF2B5EF4-FFF2-40B4-BE49-F238E27FC236}">
                <a16:creationId xmlns:a16="http://schemas.microsoft.com/office/drawing/2014/main" id="{DA647578-0E97-4ED1-B135-13AFE1031032}"/>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14844" b="14844"/>
          <a:stretch>
            <a:fillRect/>
          </a:stretch>
        </p:blipFill>
        <p:spPr>
          <a:xfrm>
            <a:off x="1" y="0"/>
            <a:ext cx="12191999" cy="6858000"/>
          </a:xfrm>
        </p:spPr>
      </p:pic>
      <p:sp>
        <p:nvSpPr>
          <p:cNvPr id="10" name="Text Placeholder 9">
            <a:extLst>
              <a:ext uri="{FF2B5EF4-FFF2-40B4-BE49-F238E27FC236}">
                <a16:creationId xmlns:a16="http://schemas.microsoft.com/office/drawing/2014/main" id="{96E9D3DD-B586-405D-BF7B-22E8E79EE869}"/>
              </a:ext>
            </a:extLst>
          </p:cNvPr>
          <p:cNvSpPr>
            <a:spLocks noGrp="1"/>
          </p:cNvSpPr>
          <p:nvPr>
            <p:ph type="body" sz="quarter" idx="15"/>
          </p:nvPr>
        </p:nvSpPr>
        <p:spPr/>
        <p:txBody>
          <a:bodyPr/>
          <a:lstStyle/>
          <a:p>
            <a:endParaRPr lang="de-CH" dirty="0"/>
          </a:p>
        </p:txBody>
      </p:sp>
      <p:sp>
        <p:nvSpPr>
          <p:cNvPr id="2" name="Titel 1"/>
          <p:cNvSpPr>
            <a:spLocks noGrp="1"/>
          </p:cNvSpPr>
          <p:nvPr>
            <p:ph type="ctrTitle"/>
          </p:nvPr>
        </p:nvSpPr>
        <p:spPr>
          <a:xfrm>
            <a:off x="1199456" y="909270"/>
            <a:ext cx="8208000" cy="3239002"/>
          </a:xfrm>
        </p:spPr>
        <p:txBody>
          <a:bodyPr/>
          <a:lstStyle/>
          <a:p>
            <a:r>
              <a:rPr lang="en-US" sz="3600" dirty="0"/>
              <a:t>Swisscom Network Analytics</a:t>
            </a:r>
            <a:br>
              <a:rPr lang="en-US" sz="4800" dirty="0"/>
            </a:br>
            <a:r>
              <a:rPr lang="en-US" sz="4200" b="0" dirty="0"/>
              <a:t>SRv6 Network Observability</a:t>
            </a:r>
            <a:endParaRPr lang="de-CH" sz="4200" b="0" dirty="0"/>
          </a:p>
        </p:txBody>
      </p:sp>
      <p:sp>
        <p:nvSpPr>
          <p:cNvPr id="5" name="Subtitle 4">
            <a:extLst>
              <a:ext uri="{FF2B5EF4-FFF2-40B4-BE49-F238E27FC236}">
                <a16:creationId xmlns:a16="http://schemas.microsoft.com/office/drawing/2014/main" id="{322ED2BF-7B71-4061-81BF-3C0686B7D4D5}"/>
              </a:ext>
            </a:extLst>
          </p:cNvPr>
          <p:cNvSpPr>
            <a:spLocks noGrp="1"/>
          </p:cNvSpPr>
          <p:nvPr>
            <p:ph type="subTitle" idx="1"/>
          </p:nvPr>
        </p:nvSpPr>
        <p:spPr>
          <a:xfrm>
            <a:off x="1199456" y="4292208"/>
            <a:ext cx="8208000" cy="720000"/>
          </a:xfrm>
        </p:spPr>
        <p:txBody>
          <a:bodyPr/>
          <a:lstStyle/>
          <a:p>
            <a:r>
              <a:rPr lang="de-CH" dirty="0"/>
              <a:t>21.03.2024, Thomas Graf – thomas.graf@swisscom.com</a:t>
            </a:r>
            <a:br>
              <a:rPr lang="de-CH" dirty="0"/>
            </a:br>
            <a:r>
              <a:rPr lang="de-CH" i="1" dirty="0"/>
              <a:t>Picture: Apollo 8, </a:t>
            </a:r>
            <a:r>
              <a:rPr lang="de-CH" i="1" dirty="0" err="1"/>
              <a:t>December</a:t>
            </a:r>
            <a:r>
              <a:rPr lang="de-CH" i="1" dirty="0"/>
              <a:t> 24th 1968</a:t>
            </a:r>
          </a:p>
          <a:p>
            <a:endParaRPr lang="de-CH" dirty="0"/>
          </a:p>
        </p:txBody>
      </p:sp>
      <p:sp>
        <p:nvSpPr>
          <p:cNvPr id="8" name="Text Placeholder 7">
            <a:extLst>
              <a:ext uri="{FF2B5EF4-FFF2-40B4-BE49-F238E27FC236}">
                <a16:creationId xmlns:a16="http://schemas.microsoft.com/office/drawing/2014/main" id="{A3B32741-1D07-41AE-8EB3-8E631C86E5C3}"/>
              </a:ext>
            </a:extLst>
          </p:cNvPr>
          <p:cNvSpPr>
            <a:spLocks noGrp="1"/>
          </p:cNvSpPr>
          <p:nvPr>
            <p:ph type="body" sz="quarter" idx="14"/>
          </p:nvPr>
        </p:nvSpPr>
        <p:spPr/>
        <p:txBody>
          <a:bodyPr/>
          <a:lstStyle/>
          <a:p>
            <a:endParaRPr lang="de-CH" dirty="0"/>
          </a:p>
        </p:txBody>
      </p:sp>
    </p:spTree>
    <p:extLst>
      <p:ext uri="{BB962C8B-B14F-4D97-AF65-F5344CB8AC3E}">
        <p14:creationId xmlns:p14="http://schemas.microsoft.com/office/powerpoint/2010/main" val="834136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F9B882-C361-8000-252E-529FA25CFCBF}"/>
              </a:ext>
            </a:extLst>
          </p:cNvPr>
          <p:cNvSpPr>
            <a:spLocks noGrp="1"/>
          </p:cNvSpPr>
          <p:nvPr>
            <p:ph type="sldNum" sz="quarter" idx="12"/>
          </p:nvPr>
        </p:nvSpPr>
        <p:spPr>
          <a:xfrm>
            <a:off x="191344" y="6093336"/>
            <a:ext cx="432048" cy="360000"/>
          </a:xfrm>
        </p:spPr>
        <p:txBody>
          <a:bodyPr anchor="b">
            <a:normAutofit/>
          </a:bodyPr>
          <a:lstStyle/>
          <a:p>
            <a:pPr>
              <a:spcAft>
                <a:spcPts val="600"/>
              </a:spcAft>
            </a:pPr>
            <a:fld id="{8FF9B0DE-3FEB-4AA0-B465-B80EF7C1333D}" type="slidenum">
              <a:rPr lang="en-GB" smtClean="0"/>
              <a:pPr>
                <a:spcAft>
                  <a:spcPts val="600"/>
                </a:spcAft>
              </a:pPr>
              <a:t>10</a:t>
            </a:fld>
            <a:endParaRPr lang="en-GB"/>
          </a:p>
        </p:txBody>
      </p:sp>
      <p:sp>
        <p:nvSpPr>
          <p:cNvPr id="4" name="Title 3">
            <a:extLst>
              <a:ext uri="{FF2B5EF4-FFF2-40B4-BE49-F238E27FC236}">
                <a16:creationId xmlns:a16="http://schemas.microsoft.com/office/drawing/2014/main" id="{9786DE2D-9F3C-E302-78DD-B72DDD139E71}"/>
              </a:ext>
            </a:extLst>
          </p:cNvPr>
          <p:cNvSpPr>
            <a:spLocks noGrp="1"/>
          </p:cNvSpPr>
          <p:nvPr>
            <p:ph type="title"/>
          </p:nvPr>
        </p:nvSpPr>
        <p:spPr>
          <a:xfrm>
            <a:off x="1199456" y="332656"/>
            <a:ext cx="10512000" cy="720000"/>
          </a:xfrm>
        </p:spPr>
        <p:txBody>
          <a:bodyPr anchor="t">
            <a:normAutofit/>
          </a:bodyPr>
          <a:lstStyle/>
          <a:p>
            <a:pPr>
              <a:lnSpc>
                <a:spcPct val="90000"/>
              </a:lnSpc>
            </a:pPr>
            <a:r>
              <a:rPr lang="en-US" dirty="0"/>
              <a:t>Trace Path and Measure Delay in IPv6 Data Plane</a:t>
            </a:r>
            <a:br>
              <a:rPr lang="en-US" dirty="0"/>
            </a:br>
            <a:r>
              <a:rPr lang="en-US" b="0" dirty="0"/>
              <a:t>Use Case Applicability</a:t>
            </a:r>
            <a:endParaRPr lang="de-CH" dirty="0"/>
          </a:p>
        </p:txBody>
      </p:sp>
      <p:graphicFrame>
        <p:nvGraphicFramePr>
          <p:cNvPr id="5" name="Table 4">
            <a:extLst>
              <a:ext uri="{FF2B5EF4-FFF2-40B4-BE49-F238E27FC236}">
                <a16:creationId xmlns:a16="http://schemas.microsoft.com/office/drawing/2014/main" id="{6B89F68D-12F8-552D-63C2-BC999B1BE941}"/>
              </a:ext>
            </a:extLst>
          </p:cNvPr>
          <p:cNvGraphicFramePr>
            <a:graphicFrameLocks noGrp="1"/>
          </p:cNvGraphicFramePr>
          <p:nvPr/>
        </p:nvGraphicFramePr>
        <p:xfrm>
          <a:off x="623392" y="1165456"/>
          <a:ext cx="8459304" cy="5359888"/>
        </p:xfrm>
        <a:graphic>
          <a:graphicData uri="http://schemas.openxmlformats.org/drawingml/2006/table">
            <a:tbl>
              <a:tblPr/>
              <a:tblGrid>
                <a:gridCol w="3275215">
                  <a:extLst>
                    <a:ext uri="{9D8B030D-6E8A-4147-A177-3AD203B41FA5}">
                      <a16:colId xmlns:a16="http://schemas.microsoft.com/office/drawing/2014/main" val="359075165"/>
                    </a:ext>
                  </a:extLst>
                </a:gridCol>
                <a:gridCol w="658742">
                  <a:extLst>
                    <a:ext uri="{9D8B030D-6E8A-4147-A177-3AD203B41FA5}">
                      <a16:colId xmlns:a16="http://schemas.microsoft.com/office/drawing/2014/main" val="2334909171"/>
                    </a:ext>
                  </a:extLst>
                </a:gridCol>
                <a:gridCol w="503853">
                  <a:extLst>
                    <a:ext uri="{9D8B030D-6E8A-4147-A177-3AD203B41FA5}">
                      <a16:colId xmlns:a16="http://schemas.microsoft.com/office/drawing/2014/main" val="498846418"/>
                    </a:ext>
                  </a:extLst>
                </a:gridCol>
                <a:gridCol w="662473">
                  <a:extLst>
                    <a:ext uri="{9D8B030D-6E8A-4147-A177-3AD203B41FA5}">
                      <a16:colId xmlns:a16="http://schemas.microsoft.com/office/drawing/2014/main" val="4252654448"/>
                    </a:ext>
                  </a:extLst>
                </a:gridCol>
                <a:gridCol w="671804">
                  <a:extLst>
                    <a:ext uri="{9D8B030D-6E8A-4147-A177-3AD203B41FA5}">
                      <a16:colId xmlns:a16="http://schemas.microsoft.com/office/drawing/2014/main" val="3902978742"/>
                    </a:ext>
                  </a:extLst>
                </a:gridCol>
                <a:gridCol w="849086">
                  <a:extLst>
                    <a:ext uri="{9D8B030D-6E8A-4147-A177-3AD203B41FA5}">
                      <a16:colId xmlns:a16="http://schemas.microsoft.com/office/drawing/2014/main" val="3503708442"/>
                    </a:ext>
                  </a:extLst>
                </a:gridCol>
                <a:gridCol w="606490">
                  <a:extLst>
                    <a:ext uri="{9D8B030D-6E8A-4147-A177-3AD203B41FA5}">
                      <a16:colId xmlns:a16="http://schemas.microsoft.com/office/drawing/2014/main" val="1613466770"/>
                    </a:ext>
                  </a:extLst>
                </a:gridCol>
                <a:gridCol w="597159">
                  <a:extLst>
                    <a:ext uri="{9D8B030D-6E8A-4147-A177-3AD203B41FA5}">
                      <a16:colId xmlns:a16="http://schemas.microsoft.com/office/drawing/2014/main" val="471603327"/>
                    </a:ext>
                  </a:extLst>
                </a:gridCol>
                <a:gridCol w="634482">
                  <a:extLst>
                    <a:ext uri="{9D8B030D-6E8A-4147-A177-3AD203B41FA5}">
                      <a16:colId xmlns:a16="http://schemas.microsoft.com/office/drawing/2014/main" val="690113561"/>
                    </a:ext>
                  </a:extLst>
                </a:gridCol>
              </a:tblGrid>
              <a:tr h="426351">
                <a:tc>
                  <a:txBody>
                    <a:bodyPr/>
                    <a:lstStyle/>
                    <a:p>
                      <a:pPr algn="l"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STAMP</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TWAMP Ligh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Path Trac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lternate Mark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Enhanced Alternate Mark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Trace Option Type</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Proof of Transi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Edge to Edge</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Direct Expor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4177757386"/>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ctive (what if) measurement</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151266537"/>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Hybrid Type 1 (Connectivity SLI) measurement</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833480613"/>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Measure on-path delay</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3448590102"/>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Measure round trip delay</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32635172"/>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Delay measured on network node</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716652840"/>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Delay measured outside network node</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578866223"/>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domains being forwarded through</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650252238"/>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Verifies that specified forwarding path is used</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013075254"/>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nodes and interfaces being forwarded trough</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2567436655"/>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next-hop, top MPLS label or active SRv6 SID</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3507223151"/>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bility to trace single flows</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672391997"/>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pplied to IPv6 Destination Options Header</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113977019"/>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pplied to IPv6 </a:t>
                      </a:r>
                      <a:r>
                        <a:rPr lang="en-US" sz="1200" b="0" i="0" u="none" strike="noStrike" noProof="0" dirty="0" err="1">
                          <a:solidFill>
                            <a:srgbClr val="000000"/>
                          </a:solidFill>
                          <a:effectLst/>
                          <a:latin typeface="Calibri" panose="020F0502020204030204" pitchFamily="34" charset="0"/>
                        </a:rPr>
                        <a:t>HbH</a:t>
                      </a:r>
                      <a:r>
                        <a:rPr lang="en-US" sz="1200" b="0" i="0" u="none" strike="noStrike" noProof="0" dirty="0">
                          <a:solidFill>
                            <a:srgbClr val="000000"/>
                          </a:solidFill>
                          <a:effectLst/>
                          <a:latin typeface="Calibri" panose="020F0502020204030204" pitchFamily="34" charset="0"/>
                        </a:rPr>
                        <a:t> Options Header</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625209757"/>
                  </a:ext>
                </a:extLst>
              </a:tr>
              <a:tr h="320040">
                <a:tc>
                  <a:txBody>
                    <a:bodyPr/>
                    <a:lstStyle/>
                    <a:p>
                      <a:pPr algn="l"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Ability to aggregate on network node</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496844950"/>
                  </a:ext>
                </a:extLst>
              </a:tr>
              <a:tr h="320040">
                <a:tc>
                  <a:txBody>
                    <a:bodyPr/>
                    <a:lstStyle/>
                    <a:p>
                      <a:pPr algn="l"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In packet aggregate able</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4224108921"/>
                  </a:ext>
                </a:extLst>
              </a:tr>
            </a:tbl>
          </a:graphicData>
        </a:graphic>
      </p:graphicFrame>
      <p:sp>
        <p:nvSpPr>
          <p:cNvPr id="6" name="Inhaltsplatzhalter 1">
            <a:extLst>
              <a:ext uri="{FF2B5EF4-FFF2-40B4-BE49-F238E27FC236}">
                <a16:creationId xmlns:a16="http://schemas.microsoft.com/office/drawing/2014/main" id="{FE716085-E3DC-0753-D60E-18DAF09702C3}"/>
              </a:ext>
            </a:extLst>
          </p:cNvPr>
          <p:cNvSpPr txBox="1">
            <a:spLocks/>
          </p:cNvSpPr>
          <p:nvPr/>
        </p:nvSpPr>
        <p:spPr bwMode="gray">
          <a:xfrm>
            <a:off x="9367935" y="-2"/>
            <a:ext cx="282406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7" name="Inhaltsplatzhalter 1">
            <a:extLst>
              <a:ext uri="{FF2B5EF4-FFF2-40B4-BE49-F238E27FC236}">
                <a16:creationId xmlns:a16="http://schemas.microsoft.com/office/drawing/2014/main" id="{043E93E5-6208-936F-5264-5A7C212DD8A6}"/>
              </a:ext>
            </a:extLst>
          </p:cNvPr>
          <p:cNvSpPr txBox="1">
            <a:spLocks/>
          </p:cNvSpPr>
          <p:nvPr/>
        </p:nvSpPr>
        <p:spPr bwMode="black">
          <a:xfrm>
            <a:off x="9983754" y="1413488"/>
            <a:ext cx="1728869" cy="462263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Main Objectives</a:t>
            </a:r>
          </a:p>
          <a:p>
            <a:r>
              <a:rPr lang="en-US" dirty="0">
                <a:solidFill>
                  <a:schemeClr val="accent1"/>
                </a:solidFill>
              </a:rPr>
              <a:t>Between VPN endpoints we need to understand </a:t>
            </a:r>
            <a:r>
              <a:rPr lang="en-US" b="1" dirty="0">
                <a:solidFill>
                  <a:srgbClr val="FF0000"/>
                </a:solidFill>
              </a:rPr>
              <a:t>which forwarding path is used.</a:t>
            </a:r>
          </a:p>
          <a:p>
            <a:r>
              <a:rPr lang="en-US" dirty="0">
                <a:solidFill>
                  <a:schemeClr val="accent1"/>
                </a:solidFill>
              </a:rPr>
              <a:t>Between VPN endpoints we need to understand </a:t>
            </a:r>
            <a:r>
              <a:rPr lang="en-US" b="1" dirty="0">
                <a:solidFill>
                  <a:srgbClr val="FF0000"/>
                </a:solidFill>
              </a:rPr>
              <a:t>where the delay is being accumulated and why.</a:t>
            </a:r>
          </a:p>
        </p:txBody>
      </p:sp>
      <p:sp>
        <p:nvSpPr>
          <p:cNvPr id="8" name="Inhaltsplatzhalter 1">
            <a:extLst>
              <a:ext uri="{FF2B5EF4-FFF2-40B4-BE49-F238E27FC236}">
                <a16:creationId xmlns:a16="http://schemas.microsoft.com/office/drawing/2014/main" id="{FB70EC37-D2C8-7620-4FAF-DB78886860F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9" name="Freeform 81">
            <a:extLst>
              <a:ext uri="{FF2B5EF4-FFF2-40B4-BE49-F238E27FC236}">
                <a16:creationId xmlns:a16="http://schemas.microsoft.com/office/drawing/2014/main" id="{857614B7-F4B6-088E-AA0E-AC2683B02A03}"/>
              </a:ext>
            </a:extLst>
          </p:cNvPr>
          <p:cNvSpPr>
            <a:spLocks noEditPoints="1"/>
          </p:cNvSpPr>
          <p:nvPr>
            <p:custDataLst>
              <p:tags r:id="rId1"/>
            </p:custDataLst>
          </p:nvPr>
        </p:nvSpPr>
        <p:spPr bwMode="black">
          <a:xfrm>
            <a:off x="9512523" y="1883481"/>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11" name="Inhaltsplatzhalter 1">
            <a:extLst>
              <a:ext uri="{FF2B5EF4-FFF2-40B4-BE49-F238E27FC236}">
                <a16:creationId xmlns:a16="http://schemas.microsoft.com/office/drawing/2014/main" id="{AE80F803-D7D1-E680-36AC-9D6EF1F27D86}"/>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14" name="Graphic 13">
            <a:extLst>
              <a:ext uri="{FF2B5EF4-FFF2-40B4-BE49-F238E27FC236}">
                <a16:creationId xmlns:a16="http://schemas.microsoft.com/office/drawing/2014/main" id="{BB01FE69-1ECD-B36E-8FC3-DE1A24AF00A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91424" y="3352667"/>
            <a:ext cx="410400" cy="410400"/>
          </a:xfrm>
          <a:prstGeom prst="rect">
            <a:avLst/>
          </a:prstGeom>
        </p:spPr>
      </p:pic>
      <p:sp>
        <p:nvSpPr>
          <p:cNvPr id="16" name="Inhaltsplatzhalter 1">
            <a:extLst>
              <a:ext uri="{FF2B5EF4-FFF2-40B4-BE49-F238E27FC236}">
                <a16:creationId xmlns:a16="http://schemas.microsoft.com/office/drawing/2014/main" id="{5A88A013-8BF6-A8A2-B545-01E71AFF1A2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Tree>
    <p:extLst>
      <p:ext uri="{BB962C8B-B14F-4D97-AF65-F5344CB8AC3E}">
        <p14:creationId xmlns:p14="http://schemas.microsoft.com/office/powerpoint/2010/main" val="1400566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F9B882-C361-8000-252E-529FA25CFCBF}"/>
              </a:ext>
            </a:extLst>
          </p:cNvPr>
          <p:cNvSpPr>
            <a:spLocks noGrp="1"/>
          </p:cNvSpPr>
          <p:nvPr>
            <p:ph type="sldNum" sz="quarter" idx="12"/>
          </p:nvPr>
        </p:nvSpPr>
        <p:spPr>
          <a:xfrm>
            <a:off x="191344" y="6093336"/>
            <a:ext cx="432048" cy="360000"/>
          </a:xfrm>
        </p:spPr>
        <p:txBody>
          <a:bodyPr anchor="b">
            <a:normAutofit/>
          </a:bodyPr>
          <a:lstStyle/>
          <a:p>
            <a:pPr>
              <a:spcAft>
                <a:spcPts val="600"/>
              </a:spcAft>
            </a:pPr>
            <a:fld id="{8FF9B0DE-3FEB-4AA0-B465-B80EF7C1333D}" type="slidenum">
              <a:rPr lang="en-GB" smtClean="0"/>
              <a:pPr>
                <a:spcAft>
                  <a:spcPts val="600"/>
                </a:spcAft>
              </a:pPr>
              <a:t>11</a:t>
            </a:fld>
            <a:endParaRPr lang="en-GB"/>
          </a:p>
        </p:txBody>
      </p:sp>
      <p:sp>
        <p:nvSpPr>
          <p:cNvPr id="4" name="Title 3">
            <a:extLst>
              <a:ext uri="{FF2B5EF4-FFF2-40B4-BE49-F238E27FC236}">
                <a16:creationId xmlns:a16="http://schemas.microsoft.com/office/drawing/2014/main" id="{9786DE2D-9F3C-E302-78DD-B72DDD139E71}"/>
              </a:ext>
            </a:extLst>
          </p:cNvPr>
          <p:cNvSpPr>
            <a:spLocks noGrp="1"/>
          </p:cNvSpPr>
          <p:nvPr>
            <p:ph type="title"/>
          </p:nvPr>
        </p:nvSpPr>
        <p:spPr>
          <a:xfrm>
            <a:off x="1199456" y="332656"/>
            <a:ext cx="10512000" cy="720000"/>
          </a:xfrm>
        </p:spPr>
        <p:txBody>
          <a:bodyPr anchor="t">
            <a:normAutofit/>
          </a:bodyPr>
          <a:lstStyle/>
          <a:p>
            <a:pPr>
              <a:lnSpc>
                <a:spcPct val="90000"/>
              </a:lnSpc>
            </a:pPr>
            <a:r>
              <a:rPr lang="en-US" dirty="0"/>
              <a:t>Network Observability in SRv6</a:t>
            </a:r>
            <a:br>
              <a:rPr lang="en-US" dirty="0"/>
            </a:br>
            <a:r>
              <a:rPr lang="en-US" b="0" dirty="0"/>
              <a:t>Status, Charter Aspect and Summary</a:t>
            </a:r>
            <a:endParaRPr lang="de-CH" dirty="0"/>
          </a:p>
        </p:txBody>
      </p:sp>
      <p:sp>
        <p:nvSpPr>
          <p:cNvPr id="8" name="Inhaltsplatzhalter 1">
            <a:extLst>
              <a:ext uri="{FF2B5EF4-FFF2-40B4-BE49-F238E27FC236}">
                <a16:creationId xmlns:a16="http://schemas.microsoft.com/office/drawing/2014/main" id="{FB70EC37-D2C8-7620-4FAF-DB78886860F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11" name="Inhaltsplatzhalter 1">
            <a:extLst>
              <a:ext uri="{FF2B5EF4-FFF2-40B4-BE49-F238E27FC236}">
                <a16:creationId xmlns:a16="http://schemas.microsoft.com/office/drawing/2014/main" id="{AE80F803-D7D1-E680-36AC-9D6EF1F27D86}"/>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16" name="Inhaltsplatzhalter 1">
            <a:extLst>
              <a:ext uri="{FF2B5EF4-FFF2-40B4-BE49-F238E27FC236}">
                <a16:creationId xmlns:a16="http://schemas.microsoft.com/office/drawing/2014/main" id="{5A88A013-8BF6-A8A2-B545-01E71AFF1A2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2" name="Content Placeholder 2">
            <a:extLst>
              <a:ext uri="{FF2B5EF4-FFF2-40B4-BE49-F238E27FC236}">
                <a16:creationId xmlns:a16="http://schemas.microsoft.com/office/drawing/2014/main" id="{2304502B-DB95-22D3-8182-FDAB3D316DD7}"/>
              </a:ext>
            </a:extLst>
          </p:cNvPr>
          <p:cNvSpPr>
            <a:spLocks noGrp="1"/>
          </p:cNvSpPr>
          <p:nvPr>
            <p:ph idx="1"/>
          </p:nvPr>
        </p:nvSpPr>
        <p:spPr>
          <a:xfrm>
            <a:off x="1199457" y="1282728"/>
            <a:ext cx="10662805" cy="4292543"/>
          </a:xfrm>
        </p:spPr>
        <p:txBody>
          <a:bodyPr>
            <a:noAutofit/>
          </a:bodyPr>
          <a:lstStyle/>
          <a:p>
            <a:pPr marL="0" indent="0">
              <a:buNone/>
            </a:pPr>
            <a:r>
              <a:rPr lang="en-US" sz="1700" b="1" dirty="0"/>
              <a:t>Status</a:t>
            </a:r>
          </a:p>
          <a:p>
            <a:pPr marL="285750" indent="-285750">
              <a:spcBef>
                <a:spcPts val="0"/>
              </a:spcBef>
              <a:spcAft>
                <a:spcPts val="300"/>
              </a:spcAft>
              <a:buFont typeface="Arial" panose="020B0604020202020204" pitchFamily="34" charset="0"/>
              <a:buChar char="•"/>
            </a:pPr>
            <a:r>
              <a:rPr lang="en-US" sz="1500" dirty="0"/>
              <a:t>BGP Monitoring Protocol is BGP Address Family agnostic. </a:t>
            </a:r>
            <a:r>
              <a:rPr lang="en-US" sz="1500" b="1" dirty="0"/>
              <a:t>Enables visibility in the SRv6 overlay BGP control plane.</a:t>
            </a:r>
          </a:p>
          <a:p>
            <a:pPr marL="285750" indent="-285750">
              <a:spcBef>
                <a:spcPts val="0"/>
              </a:spcBef>
              <a:spcAft>
                <a:spcPts val="300"/>
              </a:spcAft>
              <a:buFont typeface="Arial" panose="020B0604020202020204" pitchFamily="34" charset="0"/>
              <a:buChar char="•"/>
            </a:pPr>
            <a:r>
              <a:rPr lang="en-US" sz="1500" dirty="0">
                <a:hlinkClick r:id="rId2"/>
              </a:rPr>
              <a:t>RFC 9487 </a:t>
            </a:r>
            <a:r>
              <a:rPr lang="en-US" sz="1500" dirty="0"/>
              <a:t>adds SRv6 dimensions in IPFIX entities. </a:t>
            </a:r>
            <a:r>
              <a:rPr lang="en-US" sz="1500" b="1" dirty="0"/>
              <a:t>Enables visibility in the SRv6 data plane.</a:t>
            </a:r>
          </a:p>
          <a:p>
            <a:pPr marL="285750" indent="-285750">
              <a:spcBef>
                <a:spcPts val="0"/>
              </a:spcBef>
              <a:spcAft>
                <a:spcPts val="300"/>
              </a:spcAft>
              <a:buFont typeface="Arial" panose="020B0604020202020204" pitchFamily="34" charset="0"/>
              <a:buChar char="•"/>
            </a:pPr>
            <a:r>
              <a:rPr lang="en-US" sz="1500" dirty="0">
                <a:hlinkClick r:id="rId3"/>
              </a:rPr>
              <a:t>draft-</a:t>
            </a:r>
            <a:r>
              <a:rPr lang="en-US" sz="1500" dirty="0" err="1">
                <a:hlinkClick r:id="rId3"/>
              </a:rPr>
              <a:t>ietf</a:t>
            </a:r>
            <a:r>
              <a:rPr lang="en-US" sz="1500" dirty="0">
                <a:hlinkClick r:id="rId3"/>
              </a:rPr>
              <a:t>-opsawg-</a:t>
            </a:r>
            <a:r>
              <a:rPr lang="en-US" sz="1500" dirty="0" err="1">
                <a:hlinkClick r:id="rId3"/>
              </a:rPr>
              <a:t>ipfix</a:t>
            </a:r>
            <a:r>
              <a:rPr lang="en-US" sz="1500" dirty="0">
                <a:hlinkClick r:id="rId3"/>
              </a:rPr>
              <a:t>-on-path-telemetry</a:t>
            </a:r>
            <a:r>
              <a:rPr lang="en-US" sz="1500" dirty="0"/>
              <a:t> adds delay measurements in IPFIX entities. </a:t>
            </a:r>
            <a:r>
              <a:rPr lang="en-US" sz="1500" b="1" dirty="0"/>
              <a:t>Enables visibility into the on-path delay.</a:t>
            </a:r>
          </a:p>
          <a:p>
            <a:pPr marL="285750" indent="-285750">
              <a:spcBef>
                <a:spcPts val="0"/>
              </a:spcBef>
              <a:spcAft>
                <a:spcPts val="300"/>
              </a:spcAft>
              <a:buFont typeface="Arial" panose="020B0604020202020204" pitchFamily="34" charset="0"/>
              <a:buChar char="•"/>
            </a:pPr>
            <a:r>
              <a:rPr lang="en-US" sz="1500" dirty="0">
                <a:hlinkClick r:id="rId4"/>
              </a:rPr>
              <a:t>RFC 9378 </a:t>
            </a:r>
            <a:r>
              <a:rPr lang="en-US" sz="1500" dirty="0"/>
              <a:t>defines IOAM. </a:t>
            </a:r>
            <a:r>
              <a:rPr lang="en-US" sz="1500" dirty="0">
                <a:hlinkClick r:id="rId5"/>
              </a:rPr>
              <a:t>RFC 9341 </a:t>
            </a:r>
            <a:r>
              <a:rPr lang="en-US" sz="1500" dirty="0"/>
              <a:t>defines Alternate Marking. </a:t>
            </a:r>
            <a:r>
              <a:rPr lang="en-US" sz="1500" dirty="0">
                <a:hlinkClick r:id="rId6"/>
              </a:rPr>
              <a:t>draft-</a:t>
            </a:r>
            <a:r>
              <a:rPr lang="en-US" sz="1500" dirty="0" err="1">
                <a:hlinkClick r:id="rId6"/>
              </a:rPr>
              <a:t>gfz</a:t>
            </a:r>
            <a:r>
              <a:rPr lang="en-US" sz="1500" dirty="0">
                <a:hlinkClick r:id="rId6"/>
              </a:rPr>
              <a:t>-opsawg-</a:t>
            </a:r>
            <a:r>
              <a:rPr lang="en-US" sz="1500" dirty="0" err="1">
                <a:hlinkClick r:id="rId6"/>
              </a:rPr>
              <a:t>ipfix</a:t>
            </a:r>
            <a:r>
              <a:rPr lang="en-US" sz="1500" dirty="0">
                <a:hlinkClick r:id="rId6"/>
              </a:rPr>
              <a:t>-alt-mark</a:t>
            </a:r>
            <a:r>
              <a:rPr lang="en-US" sz="1500" dirty="0"/>
              <a:t> and </a:t>
            </a:r>
            <a:r>
              <a:rPr lang="en-US" sz="1500" dirty="0">
                <a:hlinkClick r:id="rId7"/>
              </a:rPr>
              <a:t>draft-</a:t>
            </a:r>
            <a:r>
              <a:rPr lang="en-US" sz="1500" dirty="0" err="1">
                <a:hlinkClick r:id="rId7"/>
              </a:rPr>
              <a:t>spiegel</a:t>
            </a:r>
            <a:r>
              <a:rPr lang="en-US" sz="1500" dirty="0">
                <a:hlinkClick r:id="rId7"/>
              </a:rPr>
              <a:t>-ippm-</a:t>
            </a:r>
            <a:r>
              <a:rPr lang="en-US" sz="1500" dirty="0" err="1">
                <a:hlinkClick r:id="rId7"/>
              </a:rPr>
              <a:t>ioam</a:t>
            </a:r>
            <a:r>
              <a:rPr lang="en-US" sz="1500" dirty="0">
                <a:hlinkClick r:id="rId7"/>
              </a:rPr>
              <a:t>-</a:t>
            </a:r>
            <a:r>
              <a:rPr lang="en-US" sz="1500" dirty="0" err="1">
                <a:hlinkClick r:id="rId7"/>
              </a:rPr>
              <a:t>rawexport</a:t>
            </a:r>
            <a:r>
              <a:rPr lang="en-US" sz="1500" dirty="0"/>
              <a:t> adds Alternate Marking and IOAM dimensions in IPFIX. </a:t>
            </a:r>
            <a:r>
              <a:rPr lang="en-US" sz="1500" b="1" dirty="0"/>
              <a:t>Enables tracing visibility in the packet forwarding.</a:t>
            </a:r>
          </a:p>
          <a:p>
            <a:pPr>
              <a:spcBef>
                <a:spcPts val="1800"/>
              </a:spcBef>
            </a:pPr>
            <a:r>
              <a:rPr lang="en-US" sz="1700" b="1" dirty="0"/>
              <a:t>Charter Aspect</a:t>
            </a:r>
          </a:p>
          <a:p>
            <a:pPr>
              <a:spcBef>
                <a:spcPts val="0"/>
              </a:spcBef>
              <a:spcAft>
                <a:spcPts val="300"/>
              </a:spcAft>
            </a:pPr>
            <a:r>
              <a:rPr lang="en-US" sz="1500" b="1" dirty="0"/>
              <a:t>Scope: 		</a:t>
            </a:r>
            <a:r>
              <a:rPr lang="en-US" sz="1500" dirty="0"/>
              <a:t>SRv6 network management guidance: Configuration, </a:t>
            </a:r>
            <a:r>
              <a:rPr lang="en-US" sz="1500" b="1" dirty="0">
                <a:solidFill>
                  <a:srgbClr val="FF0000"/>
                </a:solidFill>
              </a:rPr>
              <a:t>observability, assurance, and performance 			optimization.</a:t>
            </a:r>
          </a:p>
          <a:p>
            <a:pPr>
              <a:spcBef>
                <a:spcPts val="0"/>
              </a:spcBef>
              <a:spcAft>
                <a:spcPts val="300"/>
              </a:spcAft>
            </a:pPr>
            <a:r>
              <a:rPr lang="en-US" sz="1500" b="1" dirty="0"/>
              <a:t>Key Deliverables: 	</a:t>
            </a:r>
            <a:r>
              <a:rPr lang="en-US" sz="1500" dirty="0"/>
              <a:t>SRv6 network management guidance for configuration, automation, </a:t>
            </a:r>
            <a:r>
              <a:rPr lang="en-US" sz="1500" b="1" dirty="0">
                <a:solidFill>
                  <a:srgbClr val="FF0000"/>
                </a:solidFill>
              </a:rPr>
              <a:t>observability, assurance, 			performance optimization, and troubleshooting.</a:t>
            </a:r>
          </a:p>
          <a:p>
            <a:pPr marL="0" indent="0">
              <a:spcBef>
                <a:spcPts val="1800"/>
              </a:spcBef>
              <a:buNone/>
            </a:pPr>
            <a:r>
              <a:rPr lang="en-US" sz="1700" b="1" dirty="0"/>
              <a:t>Summary</a:t>
            </a:r>
          </a:p>
          <a:p>
            <a:pPr>
              <a:spcBef>
                <a:spcPts val="0"/>
              </a:spcBef>
              <a:spcAft>
                <a:spcPts val="300"/>
              </a:spcAft>
            </a:pPr>
            <a:r>
              <a:rPr lang="en-US" sz="1500" dirty="0"/>
              <a:t>The key asset of SRv6 is that at the source of the packet generation the forwarding path can be decided. To validate source routing, on-path visibility is a necessity. However, the protocols involved </a:t>
            </a:r>
            <a:r>
              <a:rPr lang="en-US" sz="1500" b="1" dirty="0"/>
              <a:t>are still in development phase, major vendors did not implement, and no requirement document has been written by an operator yet</a:t>
            </a:r>
            <a:r>
              <a:rPr lang="en-US" sz="1500" dirty="0"/>
              <a:t>. SRV6OPS contributes by not only outlining the use cases, objectives and specifying the requirements but also feedback on implementations. </a:t>
            </a:r>
            <a:endParaRPr lang="en-US" sz="1500" b="1" dirty="0">
              <a:solidFill>
                <a:srgbClr val="FF0000"/>
              </a:solidFill>
            </a:endParaRPr>
          </a:p>
        </p:txBody>
      </p:sp>
    </p:spTree>
    <p:extLst>
      <p:ext uri="{BB962C8B-B14F-4D97-AF65-F5344CB8AC3E}">
        <p14:creationId xmlns:p14="http://schemas.microsoft.com/office/powerpoint/2010/main" val="36409465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17A6DA17-156A-4F5E-B81C-D64FF1E7B8CC}"/>
              </a:ext>
            </a:extLst>
          </p:cNvPr>
          <p:cNvSpPr>
            <a:spLocks noGrp="1"/>
          </p:cNvSpPr>
          <p:nvPr>
            <p:ph type="sldNum" sz="quarter" idx="12"/>
          </p:nvPr>
        </p:nvSpPr>
        <p:spPr bwMode="gray"/>
        <p:txBody>
          <a:bodyPr/>
          <a:lstStyle/>
          <a:p>
            <a:fld id="{8FF9B0DE-3FEB-4AA0-B465-B80EF7C1333D}" type="slidenum">
              <a:rPr lang="de-CH" smtClean="0"/>
              <a:pPr/>
              <a:t>12</a:t>
            </a:fld>
            <a:endParaRPr lang="de-CH" dirty="0"/>
          </a:p>
        </p:txBody>
      </p:sp>
      <p:sp>
        <p:nvSpPr>
          <p:cNvPr id="9" name="Title 4">
            <a:extLst>
              <a:ext uri="{FF2B5EF4-FFF2-40B4-BE49-F238E27FC236}">
                <a16:creationId xmlns:a16="http://schemas.microsoft.com/office/drawing/2014/main" id="{8D11295F-2BFA-40E0-8C05-BFE2BB9FEF44}"/>
              </a:ext>
            </a:extLst>
          </p:cNvPr>
          <p:cNvSpPr>
            <a:spLocks noGrp="1"/>
          </p:cNvSpPr>
          <p:nvPr>
            <p:ph type="title"/>
          </p:nvPr>
        </p:nvSpPr>
        <p:spPr bwMode="gray">
          <a:xfrm>
            <a:off x="760155" y="2585258"/>
            <a:ext cx="10887639" cy="1579804"/>
          </a:xfrm>
        </p:spPr>
        <p:txBody>
          <a:bodyPr/>
          <a:lstStyle/>
          <a:p>
            <a:pPr algn="ctr">
              <a:lnSpc>
                <a:spcPct val="150000"/>
              </a:lnSpc>
              <a:spcBef>
                <a:spcPts val="600"/>
              </a:spcBef>
              <a:spcAft>
                <a:spcPts val="600"/>
              </a:spcAft>
            </a:pPr>
            <a:r>
              <a:rPr lang="en-US" sz="3600" dirty="0"/>
              <a:t>Backup</a:t>
            </a:r>
            <a:endParaRPr lang="de-CH" sz="3600" dirty="0"/>
          </a:p>
        </p:txBody>
      </p:sp>
      <p:grpSp>
        <p:nvGrpSpPr>
          <p:cNvPr id="10" name="Group 9">
            <a:extLst>
              <a:ext uri="{FF2B5EF4-FFF2-40B4-BE49-F238E27FC236}">
                <a16:creationId xmlns:a16="http://schemas.microsoft.com/office/drawing/2014/main" id="{47209106-683C-4E8E-9C26-ED12DED9E902}"/>
              </a:ext>
            </a:extLst>
          </p:cNvPr>
          <p:cNvGrpSpPr/>
          <p:nvPr/>
        </p:nvGrpSpPr>
        <p:grpSpPr>
          <a:xfrm>
            <a:off x="4750838" y="5180742"/>
            <a:ext cx="2690324" cy="724949"/>
            <a:chOff x="8955783" y="324085"/>
            <a:chExt cx="2690324" cy="724949"/>
          </a:xfrm>
        </p:grpSpPr>
        <p:grpSp>
          <p:nvGrpSpPr>
            <p:cNvPr id="11" name="Gruppieren 168">
              <a:extLst>
                <a:ext uri="{FF2B5EF4-FFF2-40B4-BE49-F238E27FC236}">
                  <a16:creationId xmlns:a16="http://schemas.microsoft.com/office/drawing/2014/main" id="{14DC1D05-0086-4C2B-8E18-ABD9BF1D37D8}"/>
                </a:ext>
              </a:extLst>
            </p:cNvPr>
            <p:cNvGrpSpPr/>
            <p:nvPr/>
          </p:nvGrpSpPr>
          <p:grpSpPr>
            <a:xfrm>
              <a:off x="8955783" y="324085"/>
              <a:ext cx="702670" cy="712587"/>
              <a:chOff x="10366017" y="30973"/>
              <a:chExt cx="2246316" cy="2278019"/>
            </a:xfrm>
          </p:grpSpPr>
          <p:grpSp>
            <p:nvGrpSpPr>
              <p:cNvPr id="86" name="Grafik 5">
                <a:extLst>
                  <a:ext uri="{FF2B5EF4-FFF2-40B4-BE49-F238E27FC236}">
                    <a16:creationId xmlns:a16="http://schemas.microsoft.com/office/drawing/2014/main" id="{B82DDF56-43C4-4D1B-8671-9D28D6A7C88F}"/>
                  </a:ext>
                </a:extLst>
              </p:cNvPr>
              <p:cNvGrpSpPr/>
              <p:nvPr/>
            </p:nvGrpSpPr>
            <p:grpSpPr>
              <a:xfrm>
                <a:off x="10366017" y="30973"/>
                <a:ext cx="2246316" cy="2278019"/>
                <a:chOff x="10396141" y="22604"/>
                <a:chExt cx="2246316" cy="2278019"/>
              </a:xfrm>
            </p:grpSpPr>
            <p:grpSp>
              <p:nvGrpSpPr>
                <p:cNvPr id="88" name="Grafik 5">
                  <a:extLst>
                    <a:ext uri="{FF2B5EF4-FFF2-40B4-BE49-F238E27FC236}">
                      <a16:creationId xmlns:a16="http://schemas.microsoft.com/office/drawing/2014/main" id="{5BE20CCA-C28C-41E2-86CE-5B23E5F93D3D}"/>
                    </a:ext>
                  </a:extLst>
                </p:cNvPr>
                <p:cNvGrpSpPr/>
                <p:nvPr/>
              </p:nvGrpSpPr>
              <p:grpSpPr>
                <a:xfrm>
                  <a:off x="10396141" y="22604"/>
                  <a:ext cx="2246316" cy="2278019"/>
                  <a:chOff x="10396141" y="22604"/>
                  <a:chExt cx="2246316" cy="2278019"/>
                </a:xfrm>
              </p:grpSpPr>
              <p:sp>
                <p:nvSpPr>
                  <p:cNvPr id="90" name="Freihandform: Form 173">
                    <a:extLst>
                      <a:ext uri="{FF2B5EF4-FFF2-40B4-BE49-F238E27FC236}">
                        <a16:creationId xmlns:a16="http://schemas.microsoft.com/office/drawing/2014/main" id="{7C9C6FB6-AEB5-4CA9-8EE9-FE7C2E144E6F}"/>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91" name="Freihandform: Form 174">
                    <a:extLst>
                      <a:ext uri="{FF2B5EF4-FFF2-40B4-BE49-F238E27FC236}">
                        <a16:creationId xmlns:a16="http://schemas.microsoft.com/office/drawing/2014/main" id="{A5A1DFB5-3D1A-4C63-9F47-2944EDE19907}"/>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92" name="Freihandform: Form 175">
                    <a:extLst>
                      <a:ext uri="{FF2B5EF4-FFF2-40B4-BE49-F238E27FC236}">
                        <a16:creationId xmlns:a16="http://schemas.microsoft.com/office/drawing/2014/main" id="{557FAEFA-0C63-4F99-BA0D-98E75A5058DB}"/>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93" name="Freihandform: Form 176">
                    <a:extLst>
                      <a:ext uri="{FF2B5EF4-FFF2-40B4-BE49-F238E27FC236}">
                        <a16:creationId xmlns:a16="http://schemas.microsoft.com/office/drawing/2014/main" id="{21934B1C-A5ED-41DD-B537-A8D527E77AA0}"/>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94" name="Freihandform: Form 177">
                    <a:extLst>
                      <a:ext uri="{FF2B5EF4-FFF2-40B4-BE49-F238E27FC236}">
                        <a16:creationId xmlns:a16="http://schemas.microsoft.com/office/drawing/2014/main" id="{2F58EB60-38A3-4FC5-894A-AE9D63A31CD9}"/>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95" name="Freihandform: Form 178">
                    <a:extLst>
                      <a:ext uri="{FF2B5EF4-FFF2-40B4-BE49-F238E27FC236}">
                        <a16:creationId xmlns:a16="http://schemas.microsoft.com/office/drawing/2014/main" id="{DE4D3DD3-4793-4592-BF14-09DD99844403}"/>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96" name="Freihandform: Form 179">
                    <a:extLst>
                      <a:ext uri="{FF2B5EF4-FFF2-40B4-BE49-F238E27FC236}">
                        <a16:creationId xmlns:a16="http://schemas.microsoft.com/office/drawing/2014/main" id="{BE44CA04-CCA3-43BC-8DDA-C9EC8A40560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97" name="Freihandform: Form 180">
                    <a:extLst>
                      <a:ext uri="{FF2B5EF4-FFF2-40B4-BE49-F238E27FC236}">
                        <a16:creationId xmlns:a16="http://schemas.microsoft.com/office/drawing/2014/main" id="{DB57E6D9-571E-4183-BB12-6B9FE137BFB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98" name="Freihandform: Form 181">
                    <a:extLst>
                      <a:ext uri="{FF2B5EF4-FFF2-40B4-BE49-F238E27FC236}">
                        <a16:creationId xmlns:a16="http://schemas.microsoft.com/office/drawing/2014/main" id="{62571F96-E4BC-41D1-A06A-93B1CC9B232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99" name="Freihandform: Form 182">
                    <a:extLst>
                      <a:ext uri="{FF2B5EF4-FFF2-40B4-BE49-F238E27FC236}">
                        <a16:creationId xmlns:a16="http://schemas.microsoft.com/office/drawing/2014/main" id="{6C36039F-A527-4390-A38A-89888EDEE14E}"/>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100" name="Freihandform: Form 183">
                    <a:extLst>
                      <a:ext uri="{FF2B5EF4-FFF2-40B4-BE49-F238E27FC236}">
                        <a16:creationId xmlns:a16="http://schemas.microsoft.com/office/drawing/2014/main" id="{5600DCFD-5CBD-4BC6-AE8F-2EA19A2BAB81}"/>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101" name="Freihandform: Form 184">
                    <a:extLst>
                      <a:ext uri="{FF2B5EF4-FFF2-40B4-BE49-F238E27FC236}">
                        <a16:creationId xmlns:a16="http://schemas.microsoft.com/office/drawing/2014/main" id="{844DE934-D438-4F0E-AFDE-1D39B8080785}"/>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102" name="Freihandform: Form 185">
                    <a:extLst>
                      <a:ext uri="{FF2B5EF4-FFF2-40B4-BE49-F238E27FC236}">
                        <a16:creationId xmlns:a16="http://schemas.microsoft.com/office/drawing/2014/main" id="{2DED94BC-8EDF-4385-ABFC-D226445C9C2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103" name="Freihandform: Form 186">
                    <a:extLst>
                      <a:ext uri="{FF2B5EF4-FFF2-40B4-BE49-F238E27FC236}">
                        <a16:creationId xmlns:a16="http://schemas.microsoft.com/office/drawing/2014/main" id="{64F3488A-BE3F-4D1E-8402-8269CC7BB134}"/>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104" name="Grafik 5">
                    <a:extLst>
                      <a:ext uri="{FF2B5EF4-FFF2-40B4-BE49-F238E27FC236}">
                        <a16:creationId xmlns:a16="http://schemas.microsoft.com/office/drawing/2014/main" id="{42D79C2B-89EB-4AC1-ADA8-56409D8A8A70}"/>
                      </a:ext>
                    </a:extLst>
                  </p:cNvPr>
                  <p:cNvGrpSpPr/>
                  <p:nvPr/>
                </p:nvGrpSpPr>
                <p:grpSpPr>
                  <a:xfrm>
                    <a:off x="10468669" y="91979"/>
                    <a:ext cx="2134946" cy="2159439"/>
                    <a:chOff x="10468669" y="91979"/>
                    <a:chExt cx="2134946" cy="2159439"/>
                  </a:xfrm>
                  <a:solidFill>
                    <a:srgbClr val="FFFFFF"/>
                  </a:solidFill>
                </p:grpSpPr>
                <p:sp>
                  <p:nvSpPr>
                    <p:cNvPr id="105" name="Freihandform: Form 188">
                      <a:extLst>
                        <a:ext uri="{FF2B5EF4-FFF2-40B4-BE49-F238E27FC236}">
                          <a16:creationId xmlns:a16="http://schemas.microsoft.com/office/drawing/2014/main" id="{08756933-ED05-4D77-A661-3E8B07A5B128}"/>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106" name="Freihandform: Form 189">
                      <a:extLst>
                        <a:ext uri="{FF2B5EF4-FFF2-40B4-BE49-F238E27FC236}">
                          <a16:creationId xmlns:a16="http://schemas.microsoft.com/office/drawing/2014/main" id="{529517DB-6D97-4D7C-842F-6817FF8516D0}"/>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107" name="Freihandform: Form 190">
                      <a:extLst>
                        <a:ext uri="{FF2B5EF4-FFF2-40B4-BE49-F238E27FC236}">
                          <a16:creationId xmlns:a16="http://schemas.microsoft.com/office/drawing/2014/main" id="{58853C34-E1E3-4216-BEDB-2DB5C90A5576}"/>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108" name="Freihandform: Form 191">
                      <a:extLst>
                        <a:ext uri="{FF2B5EF4-FFF2-40B4-BE49-F238E27FC236}">
                          <a16:creationId xmlns:a16="http://schemas.microsoft.com/office/drawing/2014/main" id="{51C90DF5-0D64-4C06-A45A-06407B68F051}"/>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109" name="Freihandform: Form 192">
                      <a:extLst>
                        <a:ext uri="{FF2B5EF4-FFF2-40B4-BE49-F238E27FC236}">
                          <a16:creationId xmlns:a16="http://schemas.microsoft.com/office/drawing/2014/main" id="{5E96680D-69BC-4EEA-A7E2-4B58F29BA5BE}"/>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110" name="Freihandform: Form 193">
                      <a:extLst>
                        <a:ext uri="{FF2B5EF4-FFF2-40B4-BE49-F238E27FC236}">
                          <a16:creationId xmlns:a16="http://schemas.microsoft.com/office/drawing/2014/main" id="{333C9023-6C78-4727-9793-E72F8DAF01EF}"/>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111" name="Freihandform: Form 194">
                      <a:extLst>
                        <a:ext uri="{FF2B5EF4-FFF2-40B4-BE49-F238E27FC236}">
                          <a16:creationId xmlns:a16="http://schemas.microsoft.com/office/drawing/2014/main" id="{BB7CCD03-3A5F-42F7-B26F-3B4324EDB213}"/>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112" name="Freihandform: Form 195">
                      <a:extLst>
                        <a:ext uri="{FF2B5EF4-FFF2-40B4-BE49-F238E27FC236}">
                          <a16:creationId xmlns:a16="http://schemas.microsoft.com/office/drawing/2014/main" id="{14E7A1CD-8C2E-4299-85AD-89FC93C40FAD}"/>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113" name="Freihandform: Form 196">
                      <a:extLst>
                        <a:ext uri="{FF2B5EF4-FFF2-40B4-BE49-F238E27FC236}">
                          <a16:creationId xmlns:a16="http://schemas.microsoft.com/office/drawing/2014/main" id="{853F5270-C796-4F07-91AD-FEBEE80E3C1B}"/>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114" name="Freihandform: Form 197">
                      <a:extLst>
                        <a:ext uri="{FF2B5EF4-FFF2-40B4-BE49-F238E27FC236}">
                          <a16:creationId xmlns:a16="http://schemas.microsoft.com/office/drawing/2014/main" id="{6E308D66-821D-4ED1-8473-F5FF95874A74}"/>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115" name="Freihandform: Form 198">
                      <a:extLst>
                        <a:ext uri="{FF2B5EF4-FFF2-40B4-BE49-F238E27FC236}">
                          <a16:creationId xmlns:a16="http://schemas.microsoft.com/office/drawing/2014/main" id="{2F06BB4A-E72F-4FBD-96E2-6B172ECA03C1}"/>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116" name="Freihandform: Form 199">
                      <a:extLst>
                        <a:ext uri="{FF2B5EF4-FFF2-40B4-BE49-F238E27FC236}">
                          <a16:creationId xmlns:a16="http://schemas.microsoft.com/office/drawing/2014/main" id="{B1A0EA27-121B-433E-A4CF-AAD69268115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117" name="Freihandform: Form 200">
                      <a:extLst>
                        <a:ext uri="{FF2B5EF4-FFF2-40B4-BE49-F238E27FC236}">
                          <a16:creationId xmlns:a16="http://schemas.microsoft.com/office/drawing/2014/main" id="{EDD46178-1DF0-4621-81BB-0F49C6E87808}"/>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118" name="Freihandform: Form 201">
                      <a:extLst>
                        <a:ext uri="{FF2B5EF4-FFF2-40B4-BE49-F238E27FC236}">
                          <a16:creationId xmlns:a16="http://schemas.microsoft.com/office/drawing/2014/main" id="{31074599-4291-4DE4-AC9D-D74EA59A4AC0}"/>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89" name="Freihandform: Form 172">
                  <a:extLst>
                    <a:ext uri="{FF2B5EF4-FFF2-40B4-BE49-F238E27FC236}">
                      <a16:creationId xmlns:a16="http://schemas.microsoft.com/office/drawing/2014/main" id="{8D56A721-FA85-4A91-82D1-71AB6E6B2F54}"/>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87" name="Ellipse 170">
                <a:extLst>
                  <a:ext uri="{FF2B5EF4-FFF2-40B4-BE49-F238E27FC236}">
                    <a16:creationId xmlns:a16="http://schemas.microsoft.com/office/drawing/2014/main" id="{E6F5F2EE-EE39-42B5-AA16-05C1710C54B7}"/>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2" name="Gruppieren 168">
              <a:extLst>
                <a:ext uri="{FF2B5EF4-FFF2-40B4-BE49-F238E27FC236}">
                  <a16:creationId xmlns:a16="http://schemas.microsoft.com/office/drawing/2014/main" id="{2D91C88C-0FC8-4E17-90E1-EA65903F4A28}"/>
                </a:ext>
              </a:extLst>
            </p:cNvPr>
            <p:cNvGrpSpPr/>
            <p:nvPr/>
          </p:nvGrpSpPr>
          <p:grpSpPr>
            <a:xfrm>
              <a:off x="9935468" y="336447"/>
              <a:ext cx="702670" cy="712587"/>
              <a:chOff x="10366017" y="30973"/>
              <a:chExt cx="2246316" cy="2278019"/>
            </a:xfrm>
          </p:grpSpPr>
          <p:grpSp>
            <p:nvGrpSpPr>
              <p:cNvPr id="53" name="Grafik 5">
                <a:extLst>
                  <a:ext uri="{FF2B5EF4-FFF2-40B4-BE49-F238E27FC236}">
                    <a16:creationId xmlns:a16="http://schemas.microsoft.com/office/drawing/2014/main" id="{3526A497-56FC-4DB3-81D4-C0F34FE9E373}"/>
                  </a:ext>
                </a:extLst>
              </p:cNvPr>
              <p:cNvGrpSpPr/>
              <p:nvPr/>
            </p:nvGrpSpPr>
            <p:grpSpPr>
              <a:xfrm>
                <a:off x="10366017" y="30973"/>
                <a:ext cx="2246316" cy="2278019"/>
                <a:chOff x="10396141" y="22604"/>
                <a:chExt cx="2246316" cy="2278019"/>
              </a:xfrm>
            </p:grpSpPr>
            <p:grpSp>
              <p:nvGrpSpPr>
                <p:cNvPr id="55" name="Grafik 5">
                  <a:extLst>
                    <a:ext uri="{FF2B5EF4-FFF2-40B4-BE49-F238E27FC236}">
                      <a16:creationId xmlns:a16="http://schemas.microsoft.com/office/drawing/2014/main" id="{8845A494-1235-403C-AE8D-CCF7C3574357}"/>
                    </a:ext>
                  </a:extLst>
                </p:cNvPr>
                <p:cNvGrpSpPr/>
                <p:nvPr/>
              </p:nvGrpSpPr>
              <p:grpSpPr>
                <a:xfrm>
                  <a:off x="10396141" y="22604"/>
                  <a:ext cx="2246316" cy="2278019"/>
                  <a:chOff x="10396141" y="22604"/>
                  <a:chExt cx="2246316" cy="2278019"/>
                </a:xfrm>
              </p:grpSpPr>
              <p:sp>
                <p:nvSpPr>
                  <p:cNvPr id="57" name="Freihandform: Form 173">
                    <a:extLst>
                      <a:ext uri="{FF2B5EF4-FFF2-40B4-BE49-F238E27FC236}">
                        <a16:creationId xmlns:a16="http://schemas.microsoft.com/office/drawing/2014/main" id="{69A78EF7-1C34-4160-90B0-123CFD15D71E}"/>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58" name="Freihandform: Form 174">
                    <a:extLst>
                      <a:ext uri="{FF2B5EF4-FFF2-40B4-BE49-F238E27FC236}">
                        <a16:creationId xmlns:a16="http://schemas.microsoft.com/office/drawing/2014/main" id="{0E963FA4-63B3-4DFA-BC7D-66EA32F8C4C3}"/>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59" name="Freihandform: Form 175">
                    <a:extLst>
                      <a:ext uri="{FF2B5EF4-FFF2-40B4-BE49-F238E27FC236}">
                        <a16:creationId xmlns:a16="http://schemas.microsoft.com/office/drawing/2014/main" id="{B5E55859-FECB-41B4-A563-20535E324570}"/>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60" name="Freihandform: Form 176">
                    <a:extLst>
                      <a:ext uri="{FF2B5EF4-FFF2-40B4-BE49-F238E27FC236}">
                        <a16:creationId xmlns:a16="http://schemas.microsoft.com/office/drawing/2014/main" id="{0ACC9DC6-5265-4A57-A89C-AA08FC9122B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61" name="Freihandform: Form 177">
                    <a:extLst>
                      <a:ext uri="{FF2B5EF4-FFF2-40B4-BE49-F238E27FC236}">
                        <a16:creationId xmlns:a16="http://schemas.microsoft.com/office/drawing/2014/main" id="{34414CF9-C9FE-4635-9761-CFFCE9226390}"/>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62" name="Freihandform: Form 178">
                    <a:extLst>
                      <a:ext uri="{FF2B5EF4-FFF2-40B4-BE49-F238E27FC236}">
                        <a16:creationId xmlns:a16="http://schemas.microsoft.com/office/drawing/2014/main" id="{67FDC17C-D326-4202-BCF6-DC72867AF97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63" name="Freihandform: Form 179">
                    <a:extLst>
                      <a:ext uri="{FF2B5EF4-FFF2-40B4-BE49-F238E27FC236}">
                        <a16:creationId xmlns:a16="http://schemas.microsoft.com/office/drawing/2014/main" id="{87EE647A-CC59-4D1D-BB28-12B61A2081F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64" name="Freihandform: Form 180">
                    <a:extLst>
                      <a:ext uri="{FF2B5EF4-FFF2-40B4-BE49-F238E27FC236}">
                        <a16:creationId xmlns:a16="http://schemas.microsoft.com/office/drawing/2014/main" id="{6C0701D4-E3CB-4142-8941-B65C767FBA27}"/>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65" name="Freihandform: Form 181">
                    <a:extLst>
                      <a:ext uri="{FF2B5EF4-FFF2-40B4-BE49-F238E27FC236}">
                        <a16:creationId xmlns:a16="http://schemas.microsoft.com/office/drawing/2014/main" id="{7C856744-E57C-4608-8C3A-979D974D07F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66" name="Freihandform: Form 182">
                    <a:extLst>
                      <a:ext uri="{FF2B5EF4-FFF2-40B4-BE49-F238E27FC236}">
                        <a16:creationId xmlns:a16="http://schemas.microsoft.com/office/drawing/2014/main" id="{5AB67C3E-1337-4AAC-9067-FB0CEACBE81B}"/>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67" name="Freihandform: Form 183">
                    <a:extLst>
                      <a:ext uri="{FF2B5EF4-FFF2-40B4-BE49-F238E27FC236}">
                        <a16:creationId xmlns:a16="http://schemas.microsoft.com/office/drawing/2014/main" id="{66FDD839-98DA-4346-BE6D-F2BCBA048F28}"/>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68" name="Freihandform: Form 184">
                    <a:extLst>
                      <a:ext uri="{FF2B5EF4-FFF2-40B4-BE49-F238E27FC236}">
                        <a16:creationId xmlns:a16="http://schemas.microsoft.com/office/drawing/2014/main" id="{2C3B9209-900B-462D-AB80-24BCE7D2275E}"/>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69" name="Freihandform: Form 185">
                    <a:extLst>
                      <a:ext uri="{FF2B5EF4-FFF2-40B4-BE49-F238E27FC236}">
                        <a16:creationId xmlns:a16="http://schemas.microsoft.com/office/drawing/2014/main" id="{D1129D54-0A06-4A6E-BD76-1D7A56946D9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70" name="Freihandform: Form 186">
                    <a:extLst>
                      <a:ext uri="{FF2B5EF4-FFF2-40B4-BE49-F238E27FC236}">
                        <a16:creationId xmlns:a16="http://schemas.microsoft.com/office/drawing/2014/main" id="{FB8A4BF9-95D0-4C0D-A7BB-97BE7C845D2B}"/>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71" name="Grafik 5">
                    <a:extLst>
                      <a:ext uri="{FF2B5EF4-FFF2-40B4-BE49-F238E27FC236}">
                        <a16:creationId xmlns:a16="http://schemas.microsoft.com/office/drawing/2014/main" id="{EB5D59D4-788A-48C3-8211-570A63E967BF}"/>
                      </a:ext>
                    </a:extLst>
                  </p:cNvPr>
                  <p:cNvGrpSpPr/>
                  <p:nvPr/>
                </p:nvGrpSpPr>
                <p:grpSpPr>
                  <a:xfrm>
                    <a:off x="10468669" y="91979"/>
                    <a:ext cx="2134946" cy="2159439"/>
                    <a:chOff x="10468669" y="91979"/>
                    <a:chExt cx="2134946" cy="2159439"/>
                  </a:xfrm>
                  <a:solidFill>
                    <a:srgbClr val="FFFFFF"/>
                  </a:solidFill>
                </p:grpSpPr>
                <p:sp>
                  <p:nvSpPr>
                    <p:cNvPr id="72" name="Freihandform: Form 188">
                      <a:extLst>
                        <a:ext uri="{FF2B5EF4-FFF2-40B4-BE49-F238E27FC236}">
                          <a16:creationId xmlns:a16="http://schemas.microsoft.com/office/drawing/2014/main" id="{12FABE64-CE90-4249-90A1-3A97C12F14DA}"/>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73" name="Freihandform: Form 189">
                      <a:extLst>
                        <a:ext uri="{FF2B5EF4-FFF2-40B4-BE49-F238E27FC236}">
                          <a16:creationId xmlns:a16="http://schemas.microsoft.com/office/drawing/2014/main" id="{BF300DFE-EDB1-4659-BC29-C3014C17273F}"/>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74" name="Freihandform: Form 190">
                      <a:extLst>
                        <a:ext uri="{FF2B5EF4-FFF2-40B4-BE49-F238E27FC236}">
                          <a16:creationId xmlns:a16="http://schemas.microsoft.com/office/drawing/2014/main" id="{54CD7C24-96D7-42E5-925E-CEEB44B7D0B1}"/>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75" name="Freihandform: Form 191">
                      <a:extLst>
                        <a:ext uri="{FF2B5EF4-FFF2-40B4-BE49-F238E27FC236}">
                          <a16:creationId xmlns:a16="http://schemas.microsoft.com/office/drawing/2014/main" id="{DD4768E7-8059-4C27-BE21-677115EDA6CE}"/>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76" name="Freihandform: Form 192">
                      <a:extLst>
                        <a:ext uri="{FF2B5EF4-FFF2-40B4-BE49-F238E27FC236}">
                          <a16:creationId xmlns:a16="http://schemas.microsoft.com/office/drawing/2014/main" id="{F54DF6F8-8C4F-410B-A3D7-E73C7459B656}"/>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77" name="Freihandform: Form 193">
                      <a:extLst>
                        <a:ext uri="{FF2B5EF4-FFF2-40B4-BE49-F238E27FC236}">
                          <a16:creationId xmlns:a16="http://schemas.microsoft.com/office/drawing/2014/main" id="{13D28E75-67B9-4230-B47D-1015C745867C}"/>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78" name="Freihandform: Form 194">
                      <a:extLst>
                        <a:ext uri="{FF2B5EF4-FFF2-40B4-BE49-F238E27FC236}">
                          <a16:creationId xmlns:a16="http://schemas.microsoft.com/office/drawing/2014/main" id="{DD3EC4B1-3F24-4BCC-B941-168A97F5897A}"/>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79" name="Freihandform: Form 195">
                      <a:extLst>
                        <a:ext uri="{FF2B5EF4-FFF2-40B4-BE49-F238E27FC236}">
                          <a16:creationId xmlns:a16="http://schemas.microsoft.com/office/drawing/2014/main" id="{920A2C19-802C-485D-AA62-3E1C96B57398}"/>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80" name="Freihandform: Form 196">
                      <a:extLst>
                        <a:ext uri="{FF2B5EF4-FFF2-40B4-BE49-F238E27FC236}">
                          <a16:creationId xmlns:a16="http://schemas.microsoft.com/office/drawing/2014/main" id="{87C32F63-B097-4A07-B9AF-C8F2D847CF03}"/>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81" name="Freihandform: Form 197">
                      <a:extLst>
                        <a:ext uri="{FF2B5EF4-FFF2-40B4-BE49-F238E27FC236}">
                          <a16:creationId xmlns:a16="http://schemas.microsoft.com/office/drawing/2014/main" id="{132FD36F-0079-4A06-9A4A-E7B3C6D704AB}"/>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82" name="Freihandform: Form 198">
                      <a:extLst>
                        <a:ext uri="{FF2B5EF4-FFF2-40B4-BE49-F238E27FC236}">
                          <a16:creationId xmlns:a16="http://schemas.microsoft.com/office/drawing/2014/main" id="{62FCEABD-EE7C-4352-854D-0886BC63B9BD}"/>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83" name="Freihandform: Form 199">
                      <a:extLst>
                        <a:ext uri="{FF2B5EF4-FFF2-40B4-BE49-F238E27FC236}">
                          <a16:creationId xmlns:a16="http://schemas.microsoft.com/office/drawing/2014/main" id="{83A2A145-ED73-4AD8-BE52-6F1245C2D19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84" name="Freihandform: Form 200">
                      <a:extLst>
                        <a:ext uri="{FF2B5EF4-FFF2-40B4-BE49-F238E27FC236}">
                          <a16:creationId xmlns:a16="http://schemas.microsoft.com/office/drawing/2014/main" id="{605FE578-2136-45E8-ACBD-38874AE5520A}"/>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85" name="Freihandform: Form 201">
                      <a:extLst>
                        <a:ext uri="{FF2B5EF4-FFF2-40B4-BE49-F238E27FC236}">
                          <a16:creationId xmlns:a16="http://schemas.microsoft.com/office/drawing/2014/main" id="{3FC875BB-C179-46BF-AAF0-96A92963C01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56" name="Freihandform: Form 172">
                  <a:extLst>
                    <a:ext uri="{FF2B5EF4-FFF2-40B4-BE49-F238E27FC236}">
                      <a16:creationId xmlns:a16="http://schemas.microsoft.com/office/drawing/2014/main" id="{10D32005-EC8F-4863-84B4-FEBFFB7BFE7D}"/>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54" name="Ellipse 170">
                <a:extLst>
                  <a:ext uri="{FF2B5EF4-FFF2-40B4-BE49-F238E27FC236}">
                    <a16:creationId xmlns:a16="http://schemas.microsoft.com/office/drawing/2014/main" id="{D72486BD-3912-46A4-86DB-08614A5D2C56}"/>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3" name="Gruppieren 168">
              <a:extLst>
                <a:ext uri="{FF2B5EF4-FFF2-40B4-BE49-F238E27FC236}">
                  <a16:creationId xmlns:a16="http://schemas.microsoft.com/office/drawing/2014/main" id="{49FEF36E-D4C1-453A-89A3-09F892E5EA65}"/>
                </a:ext>
              </a:extLst>
            </p:cNvPr>
            <p:cNvGrpSpPr/>
            <p:nvPr/>
          </p:nvGrpSpPr>
          <p:grpSpPr>
            <a:xfrm>
              <a:off x="10943437" y="334624"/>
              <a:ext cx="702670" cy="712587"/>
              <a:chOff x="10366017" y="30973"/>
              <a:chExt cx="2246316" cy="2278019"/>
            </a:xfrm>
          </p:grpSpPr>
          <p:grpSp>
            <p:nvGrpSpPr>
              <p:cNvPr id="14" name="Grafik 5">
                <a:extLst>
                  <a:ext uri="{FF2B5EF4-FFF2-40B4-BE49-F238E27FC236}">
                    <a16:creationId xmlns:a16="http://schemas.microsoft.com/office/drawing/2014/main" id="{94196336-3D74-490E-BB94-01BF5A947506}"/>
                  </a:ext>
                </a:extLst>
              </p:cNvPr>
              <p:cNvGrpSpPr/>
              <p:nvPr/>
            </p:nvGrpSpPr>
            <p:grpSpPr>
              <a:xfrm>
                <a:off x="10366017" y="30973"/>
                <a:ext cx="2246316" cy="2278019"/>
                <a:chOff x="10396141" y="22604"/>
                <a:chExt cx="2246316" cy="2278019"/>
              </a:xfrm>
            </p:grpSpPr>
            <p:grpSp>
              <p:nvGrpSpPr>
                <p:cNvPr id="18" name="Grafik 5">
                  <a:extLst>
                    <a:ext uri="{FF2B5EF4-FFF2-40B4-BE49-F238E27FC236}">
                      <a16:creationId xmlns:a16="http://schemas.microsoft.com/office/drawing/2014/main" id="{2785D0C1-CDA2-4788-9DE4-35EE0A090704}"/>
                    </a:ext>
                  </a:extLst>
                </p:cNvPr>
                <p:cNvGrpSpPr/>
                <p:nvPr/>
              </p:nvGrpSpPr>
              <p:grpSpPr>
                <a:xfrm>
                  <a:off x="10396141" y="22604"/>
                  <a:ext cx="2246316" cy="2278019"/>
                  <a:chOff x="10396141" y="22604"/>
                  <a:chExt cx="2246316" cy="2278019"/>
                </a:xfrm>
              </p:grpSpPr>
              <p:sp>
                <p:nvSpPr>
                  <p:cNvPr id="20" name="Freihandform: Form 173">
                    <a:extLst>
                      <a:ext uri="{FF2B5EF4-FFF2-40B4-BE49-F238E27FC236}">
                        <a16:creationId xmlns:a16="http://schemas.microsoft.com/office/drawing/2014/main" id="{E0879FFA-8FD4-4852-9F08-86DFA2DAABB4}"/>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22" name="Freihandform: Form 174">
                    <a:extLst>
                      <a:ext uri="{FF2B5EF4-FFF2-40B4-BE49-F238E27FC236}">
                        <a16:creationId xmlns:a16="http://schemas.microsoft.com/office/drawing/2014/main" id="{8656D6C2-0B60-4272-97DD-BFEF660E01B2}"/>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23" name="Freihandform: Form 175">
                    <a:extLst>
                      <a:ext uri="{FF2B5EF4-FFF2-40B4-BE49-F238E27FC236}">
                        <a16:creationId xmlns:a16="http://schemas.microsoft.com/office/drawing/2014/main" id="{79C649FF-5657-4F4D-9AFB-5F0E1303AD3F}"/>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25" name="Freihandform: Form 176">
                    <a:extLst>
                      <a:ext uri="{FF2B5EF4-FFF2-40B4-BE49-F238E27FC236}">
                        <a16:creationId xmlns:a16="http://schemas.microsoft.com/office/drawing/2014/main" id="{D5CC29A1-6941-4F88-8F8C-6C352DDC443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26" name="Freihandform: Form 177">
                    <a:extLst>
                      <a:ext uri="{FF2B5EF4-FFF2-40B4-BE49-F238E27FC236}">
                        <a16:creationId xmlns:a16="http://schemas.microsoft.com/office/drawing/2014/main" id="{8A597600-9993-433F-98C5-1FB8020C1EC2}"/>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27" name="Freihandform: Form 178">
                    <a:extLst>
                      <a:ext uri="{FF2B5EF4-FFF2-40B4-BE49-F238E27FC236}">
                        <a16:creationId xmlns:a16="http://schemas.microsoft.com/office/drawing/2014/main" id="{5210DC4B-5658-4799-B906-1B9253B1510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30" name="Freihandform: Form 179">
                    <a:extLst>
                      <a:ext uri="{FF2B5EF4-FFF2-40B4-BE49-F238E27FC236}">
                        <a16:creationId xmlns:a16="http://schemas.microsoft.com/office/drawing/2014/main" id="{8CBB904B-7E56-4BA0-A272-CB69C521BB82}"/>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31" name="Freihandform: Form 180">
                    <a:extLst>
                      <a:ext uri="{FF2B5EF4-FFF2-40B4-BE49-F238E27FC236}">
                        <a16:creationId xmlns:a16="http://schemas.microsoft.com/office/drawing/2014/main" id="{3B7B6E8D-39E6-40BD-BC37-529D1BACF1C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32" name="Freihandform: Form 181">
                    <a:extLst>
                      <a:ext uri="{FF2B5EF4-FFF2-40B4-BE49-F238E27FC236}">
                        <a16:creationId xmlns:a16="http://schemas.microsoft.com/office/drawing/2014/main" id="{6B7D7C75-46B5-4821-AD3D-84288E8317D8}"/>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33" name="Freihandform: Form 182">
                    <a:extLst>
                      <a:ext uri="{FF2B5EF4-FFF2-40B4-BE49-F238E27FC236}">
                        <a16:creationId xmlns:a16="http://schemas.microsoft.com/office/drawing/2014/main" id="{E7EB9117-178F-428E-B769-534F1D88F294}"/>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34" name="Freihandform: Form 183">
                    <a:extLst>
                      <a:ext uri="{FF2B5EF4-FFF2-40B4-BE49-F238E27FC236}">
                        <a16:creationId xmlns:a16="http://schemas.microsoft.com/office/drawing/2014/main" id="{FBE3DC25-AB04-4E96-AC23-4F506C8EBFAE}"/>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35" name="Freihandform: Form 184">
                    <a:extLst>
                      <a:ext uri="{FF2B5EF4-FFF2-40B4-BE49-F238E27FC236}">
                        <a16:creationId xmlns:a16="http://schemas.microsoft.com/office/drawing/2014/main" id="{0CD0A21E-35BC-4FCF-915E-AFC50052C69C}"/>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36" name="Freihandform: Form 185">
                    <a:extLst>
                      <a:ext uri="{FF2B5EF4-FFF2-40B4-BE49-F238E27FC236}">
                        <a16:creationId xmlns:a16="http://schemas.microsoft.com/office/drawing/2014/main" id="{FC721DD0-1D6A-46CC-B989-16AFC81BFC4C}"/>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37" name="Freihandform: Form 186">
                    <a:extLst>
                      <a:ext uri="{FF2B5EF4-FFF2-40B4-BE49-F238E27FC236}">
                        <a16:creationId xmlns:a16="http://schemas.microsoft.com/office/drawing/2014/main" id="{79ED9F5F-94B3-4276-BE5D-789E69907677}"/>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38" name="Grafik 5">
                    <a:extLst>
                      <a:ext uri="{FF2B5EF4-FFF2-40B4-BE49-F238E27FC236}">
                        <a16:creationId xmlns:a16="http://schemas.microsoft.com/office/drawing/2014/main" id="{4A90D31E-4AF8-416D-9D63-C0C20A8D2B29}"/>
                      </a:ext>
                    </a:extLst>
                  </p:cNvPr>
                  <p:cNvGrpSpPr/>
                  <p:nvPr/>
                </p:nvGrpSpPr>
                <p:grpSpPr>
                  <a:xfrm>
                    <a:off x="10468669" y="91979"/>
                    <a:ext cx="2134946" cy="2159439"/>
                    <a:chOff x="10468669" y="91979"/>
                    <a:chExt cx="2134946" cy="2159439"/>
                  </a:xfrm>
                  <a:solidFill>
                    <a:srgbClr val="FFFFFF"/>
                  </a:solidFill>
                </p:grpSpPr>
                <p:sp>
                  <p:nvSpPr>
                    <p:cNvPr id="39" name="Freihandform: Form 188">
                      <a:extLst>
                        <a:ext uri="{FF2B5EF4-FFF2-40B4-BE49-F238E27FC236}">
                          <a16:creationId xmlns:a16="http://schemas.microsoft.com/office/drawing/2014/main" id="{63D88DF8-E96F-4D7F-9795-CF005175F925}"/>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40" name="Freihandform: Form 189">
                      <a:extLst>
                        <a:ext uri="{FF2B5EF4-FFF2-40B4-BE49-F238E27FC236}">
                          <a16:creationId xmlns:a16="http://schemas.microsoft.com/office/drawing/2014/main" id="{FD2B1FF9-7C17-423E-A128-72408CF40B4B}"/>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41" name="Freihandform: Form 190">
                      <a:extLst>
                        <a:ext uri="{FF2B5EF4-FFF2-40B4-BE49-F238E27FC236}">
                          <a16:creationId xmlns:a16="http://schemas.microsoft.com/office/drawing/2014/main" id="{280AA17C-92CD-409E-B4DB-860D2EDE0C2E}"/>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42" name="Freihandform: Form 191">
                      <a:extLst>
                        <a:ext uri="{FF2B5EF4-FFF2-40B4-BE49-F238E27FC236}">
                          <a16:creationId xmlns:a16="http://schemas.microsoft.com/office/drawing/2014/main" id="{B461D9AE-4D53-4209-AD25-2D4E864869EA}"/>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43" name="Freihandform: Form 192">
                      <a:extLst>
                        <a:ext uri="{FF2B5EF4-FFF2-40B4-BE49-F238E27FC236}">
                          <a16:creationId xmlns:a16="http://schemas.microsoft.com/office/drawing/2014/main" id="{9B5C64E6-8EF5-4A0C-8D95-D25B9D70C832}"/>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44" name="Freihandform: Form 193">
                      <a:extLst>
                        <a:ext uri="{FF2B5EF4-FFF2-40B4-BE49-F238E27FC236}">
                          <a16:creationId xmlns:a16="http://schemas.microsoft.com/office/drawing/2014/main" id="{38D10A3D-9EBD-4282-91B6-20E5AE29ECE2}"/>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45" name="Freihandform: Form 194">
                      <a:extLst>
                        <a:ext uri="{FF2B5EF4-FFF2-40B4-BE49-F238E27FC236}">
                          <a16:creationId xmlns:a16="http://schemas.microsoft.com/office/drawing/2014/main" id="{D18302AF-D5A8-48F5-9278-8FC2951A5835}"/>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46" name="Freihandform: Form 195">
                      <a:extLst>
                        <a:ext uri="{FF2B5EF4-FFF2-40B4-BE49-F238E27FC236}">
                          <a16:creationId xmlns:a16="http://schemas.microsoft.com/office/drawing/2014/main" id="{5897F0D5-0D03-43D7-85E4-1F1A4E722793}"/>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47" name="Freihandform: Form 196">
                      <a:extLst>
                        <a:ext uri="{FF2B5EF4-FFF2-40B4-BE49-F238E27FC236}">
                          <a16:creationId xmlns:a16="http://schemas.microsoft.com/office/drawing/2014/main" id="{A3AF54DA-4169-47AB-877E-F028267B2A74}"/>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48" name="Freihandform: Form 197">
                      <a:extLst>
                        <a:ext uri="{FF2B5EF4-FFF2-40B4-BE49-F238E27FC236}">
                          <a16:creationId xmlns:a16="http://schemas.microsoft.com/office/drawing/2014/main" id="{F5ACC607-6148-4223-8E09-57114ADEF5C6}"/>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49" name="Freihandform: Form 198">
                      <a:extLst>
                        <a:ext uri="{FF2B5EF4-FFF2-40B4-BE49-F238E27FC236}">
                          <a16:creationId xmlns:a16="http://schemas.microsoft.com/office/drawing/2014/main" id="{5F7989BE-C6AA-455C-8F02-C5806BB5656F}"/>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50" name="Freihandform: Form 199">
                      <a:extLst>
                        <a:ext uri="{FF2B5EF4-FFF2-40B4-BE49-F238E27FC236}">
                          <a16:creationId xmlns:a16="http://schemas.microsoft.com/office/drawing/2014/main" id="{11FA48EF-906B-4136-9C8F-E3867EAB2225}"/>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51" name="Freihandform: Form 200">
                      <a:extLst>
                        <a:ext uri="{FF2B5EF4-FFF2-40B4-BE49-F238E27FC236}">
                          <a16:creationId xmlns:a16="http://schemas.microsoft.com/office/drawing/2014/main" id="{6A2725EB-229C-444A-BD1F-1D8076F58115}"/>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52" name="Freihandform: Form 201">
                      <a:extLst>
                        <a:ext uri="{FF2B5EF4-FFF2-40B4-BE49-F238E27FC236}">
                          <a16:creationId xmlns:a16="http://schemas.microsoft.com/office/drawing/2014/main" id="{53405413-BC7B-4D2F-915E-C5CF4E5ED16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19" name="Freihandform: Form 172">
                  <a:extLst>
                    <a:ext uri="{FF2B5EF4-FFF2-40B4-BE49-F238E27FC236}">
                      <a16:creationId xmlns:a16="http://schemas.microsoft.com/office/drawing/2014/main" id="{367A1EAC-79AF-4176-94D6-E222773157F9}"/>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16" name="Ellipse 170">
                <a:extLst>
                  <a:ext uri="{FF2B5EF4-FFF2-40B4-BE49-F238E27FC236}">
                    <a16:creationId xmlns:a16="http://schemas.microsoft.com/office/drawing/2014/main" id="{21452493-90A6-417D-BCA1-3D4C161E87A5}"/>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spTree>
    <p:extLst>
      <p:ext uri="{BB962C8B-B14F-4D97-AF65-F5344CB8AC3E}">
        <p14:creationId xmlns:p14="http://schemas.microsoft.com/office/powerpoint/2010/main" val="27519809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TheSans Swisscom Light" pitchFamily="34" charset="0"/>
              <a:ea typeface="+mn-ea"/>
              <a:cs typeface="+mn-cs"/>
            </a:endParaRPr>
          </a:p>
        </p:txBody>
      </p:sp>
      <p:sp>
        <p:nvSpPr>
          <p:cNvPr id="4" name="Slide Number Placeholder 3"/>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5F937F-578B-432D-B413-03DE4E4B2A9B}" type="slidenum">
              <a:rPr kumimoji="0" lang="de-DE" sz="1600" b="0" i="0" u="none" strike="noStrike" kern="1200" cap="none" spc="0" normalizeH="0" baseline="0" noProof="0" smtClean="0">
                <a:ln>
                  <a:noFill/>
                </a:ln>
                <a:solidFill>
                  <a:srgbClr val="333333"/>
                </a:solidFill>
                <a:effectLst/>
                <a:uLnTx/>
                <a:uFillTx/>
                <a:latin typeface="TheSans Swisscom Light" panose="020B030004030306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de-DE" sz="1600" b="0" i="0" u="none" strike="noStrike" kern="1200" cap="none" spc="0" normalizeH="0" baseline="0" noProof="0">
              <a:ln>
                <a:noFill/>
              </a:ln>
              <a:solidFill>
                <a:srgbClr val="333333"/>
              </a:solidFill>
              <a:effectLst/>
              <a:uLnTx/>
              <a:uFillTx/>
              <a:latin typeface="TheSans Swisscom Light" panose="020B0300040303060204" pitchFamily="34" charset="0"/>
              <a:ea typeface="+mn-ea"/>
              <a:cs typeface="+mn-cs"/>
            </a:endParaRPr>
          </a:p>
        </p:txBody>
      </p:sp>
      <p:sp>
        <p:nvSpPr>
          <p:cNvPr id="6" name="Title 5"/>
          <p:cNvSpPr>
            <a:spLocks noGrp="1"/>
          </p:cNvSpPr>
          <p:nvPr>
            <p:ph type="title"/>
          </p:nvPr>
        </p:nvSpPr>
        <p:spPr>
          <a:xfrm>
            <a:off x="1199455" y="269881"/>
            <a:ext cx="9792395" cy="868637"/>
          </a:xfrm>
        </p:spPr>
        <p:txBody>
          <a:bodyPr/>
          <a:lstStyle/>
          <a:p>
            <a:r>
              <a:rPr lang="en-US" sz="2800" dirty="0"/>
              <a:t>Network Data Collection with Network Telemetry</a:t>
            </a:r>
            <a:br>
              <a:rPr lang="en-US" dirty="0"/>
            </a:br>
            <a:r>
              <a:rPr lang="en-US" b="0" dirty="0">
                <a:solidFill>
                  <a:schemeClr val="bg1">
                    <a:lumMod val="65000"/>
                  </a:schemeClr>
                </a:solidFill>
              </a:rPr>
              <a:t>Structured metrics enable informed decision-making</a:t>
            </a:r>
            <a:endParaRPr lang="de-CH" b="0" dirty="0">
              <a:solidFill>
                <a:schemeClr val="bg1">
                  <a:lumMod val="65000"/>
                </a:schemeClr>
              </a:solidFill>
            </a:endParaRPr>
          </a:p>
        </p:txBody>
      </p:sp>
      <p:sp>
        <p:nvSpPr>
          <p:cNvPr id="8" name="Content Placeholder 1">
            <a:extLst>
              <a:ext uri="{FF2B5EF4-FFF2-40B4-BE49-F238E27FC236}">
                <a16:creationId xmlns:a16="http://schemas.microsoft.com/office/drawing/2014/main" id="{1E962236-65CF-4645-96F3-753287E4862F}"/>
              </a:ext>
            </a:extLst>
          </p:cNvPr>
          <p:cNvSpPr>
            <a:spLocks noGrp="1"/>
          </p:cNvSpPr>
          <p:nvPr>
            <p:ph idx="1"/>
          </p:nvPr>
        </p:nvSpPr>
        <p:spPr>
          <a:xfrm>
            <a:off x="8712545" y="1813064"/>
            <a:ext cx="3019525" cy="4276235"/>
          </a:xfrm>
        </p:spPr>
        <p:txBody>
          <a:bodyPr wrap="square">
            <a:spAutoFit/>
          </a:bodyPr>
          <a:lstStyle/>
          <a:p>
            <a:pPr>
              <a:lnSpc>
                <a:spcPct val="100000"/>
              </a:lnSpc>
              <a:spcAft>
                <a:spcPts val="0"/>
              </a:spcAft>
            </a:pPr>
            <a:r>
              <a:rPr lang="en-US" sz="1800" b="1" dirty="0"/>
              <a:t>Network Telemetry:</a:t>
            </a:r>
          </a:p>
          <a:p>
            <a:pPr marL="182563" indent="-182563">
              <a:spcBef>
                <a:spcPct val="20000"/>
              </a:spcBef>
              <a:buClr>
                <a:schemeClr val="accent2"/>
              </a:buClr>
              <a:buFont typeface="TheSans Swisscom" pitchFamily="34" charset="0"/>
              <a:buChar char="&gt;"/>
            </a:pPr>
            <a:r>
              <a:rPr lang="en-US" sz="1800" dirty="0"/>
              <a:t>A data collection framework where the network device pushes its metrics to Big Data. Defined in </a:t>
            </a:r>
            <a:r>
              <a:rPr lang="en-US" sz="1800" dirty="0">
                <a:hlinkClick r:id="rId3"/>
              </a:rPr>
              <a:t>RFC 9232</a:t>
            </a:r>
            <a:r>
              <a:rPr lang="en-US" sz="1800" dirty="0"/>
              <a:t>.</a:t>
            </a:r>
          </a:p>
          <a:p>
            <a:pPr marL="285750" indent="-285750">
              <a:lnSpc>
                <a:spcPct val="100000"/>
              </a:lnSpc>
              <a:spcAft>
                <a:spcPts val="0"/>
              </a:spcAft>
              <a:buFont typeface="Arial" panose="020B0604020202020204" pitchFamily="34" charset="0"/>
              <a:buChar char="•"/>
            </a:pPr>
            <a:endParaRPr lang="en-US" sz="1800" dirty="0"/>
          </a:p>
          <a:p>
            <a:r>
              <a:rPr lang="en-US" sz="1800" b="1" dirty="0"/>
              <a:t>Data Modelling:</a:t>
            </a:r>
          </a:p>
          <a:p>
            <a:pPr marL="182563" indent="-182563">
              <a:spcBef>
                <a:spcPct val="20000"/>
              </a:spcBef>
              <a:buClr>
                <a:schemeClr val="accent2"/>
              </a:buClr>
              <a:buFont typeface="TheSans Swisscom" pitchFamily="34" charset="0"/>
              <a:buChar char="&gt;"/>
            </a:pPr>
            <a:r>
              <a:rPr lang="en-US" sz="1800" dirty="0"/>
              <a:t>Key for Big Data correlation to understand and react in the right context</a:t>
            </a:r>
          </a:p>
          <a:p>
            <a:pPr marL="362563" lvl="2" indent="-182563">
              <a:spcBef>
                <a:spcPct val="20000"/>
              </a:spcBef>
              <a:spcAft>
                <a:spcPts val="600"/>
              </a:spcAft>
              <a:buClr>
                <a:schemeClr val="accent2"/>
              </a:buClr>
              <a:buFont typeface="TheSans Swisscom" pitchFamily="34" charset="0"/>
              <a:buChar char="&gt;"/>
            </a:pPr>
            <a:r>
              <a:rPr lang="en-US" sz="1800" dirty="0"/>
              <a:t>Are interface drops bad?</a:t>
            </a:r>
          </a:p>
          <a:p>
            <a:pPr marL="362563" lvl="2" indent="-182563">
              <a:spcBef>
                <a:spcPct val="20000"/>
              </a:spcBef>
              <a:spcAft>
                <a:spcPts val="600"/>
              </a:spcAft>
              <a:buClr>
                <a:schemeClr val="accent2"/>
              </a:buClr>
              <a:buFont typeface="TheSans Swisscom" pitchFamily="34" charset="0"/>
              <a:buChar char="&gt;"/>
            </a:pPr>
            <a:r>
              <a:rPr lang="en-US" sz="1800" dirty="0"/>
              <a:t>How should we react?</a:t>
            </a:r>
          </a:p>
        </p:txBody>
      </p:sp>
      <p:pic>
        <p:nvPicPr>
          <p:cNvPr id="11" name="Picture 10" descr="A picture containing background pattern&#10;&#10;Description automatically generated">
            <a:extLst>
              <a:ext uri="{FF2B5EF4-FFF2-40B4-BE49-F238E27FC236}">
                <a16:creationId xmlns:a16="http://schemas.microsoft.com/office/drawing/2014/main" id="{73E87EE5-D750-4632-9D6A-E1C9FEEC8DC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41195" y="479391"/>
            <a:ext cx="1638442" cy="868637"/>
          </a:xfrm>
          <a:prstGeom prst="rect">
            <a:avLst/>
          </a:prstGeom>
        </p:spPr>
      </p:pic>
      <p:pic>
        <p:nvPicPr>
          <p:cNvPr id="7" name="Picture 6">
            <a:extLst>
              <a:ext uri="{FF2B5EF4-FFF2-40B4-BE49-F238E27FC236}">
                <a16:creationId xmlns:a16="http://schemas.microsoft.com/office/drawing/2014/main" id="{0BF86749-93B0-43F2-BC2E-08BB89F8F094}"/>
              </a:ext>
            </a:extLst>
          </p:cNvPr>
          <p:cNvPicPr>
            <a:picLocks noChangeAspect="1"/>
          </p:cNvPicPr>
          <p:nvPr/>
        </p:nvPicPr>
        <p:blipFill>
          <a:blip r:embed="rId5"/>
          <a:stretch>
            <a:fillRect/>
          </a:stretch>
        </p:blipFill>
        <p:spPr>
          <a:xfrm>
            <a:off x="623392" y="1369480"/>
            <a:ext cx="7720965" cy="4903856"/>
          </a:xfrm>
          <a:prstGeom prst="rect">
            <a:avLst/>
          </a:prstGeom>
        </p:spPr>
      </p:pic>
    </p:spTree>
    <p:extLst>
      <p:ext uri="{BB962C8B-B14F-4D97-AF65-F5344CB8AC3E}">
        <p14:creationId xmlns:p14="http://schemas.microsoft.com/office/powerpoint/2010/main" val="28063015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
            <a:extLst>
              <a:ext uri="{FF2B5EF4-FFF2-40B4-BE49-F238E27FC236}">
                <a16:creationId xmlns:a16="http://schemas.microsoft.com/office/drawing/2014/main" id="{082F007D-870C-420B-B275-0D94CF807CDB}"/>
              </a:ext>
            </a:extLst>
          </p:cNvPr>
          <p:cNvSpPr txBox="1">
            <a:spLocks/>
          </p:cNvSpPr>
          <p:nvPr/>
        </p:nvSpPr>
        <p:spPr bwMode="gray">
          <a:xfrm>
            <a:off x="6600825" y="-2"/>
            <a:ext cx="559117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14</a:t>
            </a:fld>
            <a:endParaRPr lang="en-US" dirty="0"/>
          </a:p>
        </p:txBody>
      </p:sp>
      <p:sp>
        <p:nvSpPr>
          <p:cNvPr id="13" name="Text Placeholder 10">
            <a:extLst>
              <a:ext uri="{FF2B5EF4-FFF2-40B4-BE49-F238E27FC236}">
                <a16:creationId xmlns:a16="http://schemas.microsoft.com/office/drawing/2014/main" id="{CB2C03B0-BAD5-4D5D-BD4C-716FFCFABBC0}"/>
              </a:ext>
            </a:extLst>
          </p:cNvPr>
          <p:cNvSpPr txBox="1">
            <a:spLocks/>
          </p:cNvSpPr>
          <p:nvPr/>
        </p:nvSpPr>
        <p:spPr bwMode="black">
          <a:xfrm>
            <a:off x="2989853" y="38284"/>
            <a:ext cx="2239455" cy="2088687"/>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Network Anomaly Detection</a:t>
            </a:r>
          </a:p>
        </p:txBody>
      </p:sp>
      <p:sp>
        <p:nvSpPr>
          <p:cNvPr id="14" name="Inhaltsplatzhalter 2">
            <a:extLst>
              <a:ext uri="{FF2B5EF4-FFF2-40B4-BE49-F238E27FC236}">
                <a16:creationId xmlns:a16="http://schemas.microsoft.com/office/drawing/2014/main" id="{08CBAA49-8C50-4BBA-B474-64DAD99FD5A0}"/>
              </a:ext>
            </a:extLst>
          </p:cNvPr>
          <p:cNvSpPr txBox="1">
            <a:spLocks/>
          </p:cNvSpPr>
          <p:nvPr/>
        </p:nvSpPr>
        <p:spPr bwMode="black">
          <a:xfrm>
            <a:off x="1200150" y="2732566"/>
            <a:ext cx="5111750" cy="372077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sz="1800" dirty="0"/>
              <a:t>For inventoried L2 or L3 VPNs, Network Anomaly Detection </a:t>
            </a:r>
            <a:r>
              <a:rPr lang="en-US" sz="1800" b="1" dirty="0"/>
              <a:t>constantly monitors and detects any network or device topology changes</a:t>
            </a:r>
            <a:r>
              <a:rPr lang="en-US" sz="1800" dirty="0"/>
              <a:t>, along with their associated forwarding consequences for customers. Notifications are sent to the Network Operation Center before the customer is aware of service disruptions. It offers operational metrics for in-depth analysis, allowing to understand on which platform the problem originates and facilitates problem resolution. </a:t>
            </a:r>
          </a:p>
        </p:txBody>
      </p:sp>
      <p:sp>
        <p:nvSpPr>
          <p:cNvPr id="15" name="Inhaltsplatzhalter 1">
            <a:extLst>
              <a:ext uri="{FF2B5EF4-FFF2-40B4-BE49-F238E27FC236}">
                <a16:creationId xmlns:a16="http://schemas.microsoft.com/office/drawing/2014/main" id="{E79FDD6D-9F75-4AFA-82DB-2B96D6D9E01B}"/>
              </a:ext>
            </a:extLst>
          </p:cNvPr>
          <p:cNvSpPr txBox="1">
            <a:spLocks/>
          </p:cNvSpPr>
          <p:nvPr/>
        </p:nvSpPr>
        <p:spPr bwMode="black">
          <a:xfrm>
            <a:off x="7680624" y="1477305"/>
            <a:ext cx="4032000"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Answers</a:t>
            </a:r>
          </a:p>
          <a:p>
            <a:pPr>
              <a:spcBef>
                <a:spcPts val="0"/>
              </a:spcBef>
              <a:spcAft>
                <a:spcPts val="1200"/>
              </a:spcAft>
            </a:pPr>
            <a:r>
              <a:rPr lang="en-US" dirty="0">
                <a:solidFill>
                  <a:schemeClr val="accent1"/>
                </a:solidFill>
              </a:rPr>
              <a:t>What changed and when, on which connectivity service, and how does it impact the customers?</a:t>
            </a:r>
          </a:p>
          <a:p>
            <a:r>
              <a:rPr lang="en-US" b="1" dirty="0">
                <a:solidFill>
                  <a:schemeClr val="bg2"/>
                </a:solidFill>
              </a:rPr>
              <a:t>Focuses</a:t>
            </a:r>
          </a:p>
          <a:p>
            <a:pPr>
              <a:spcBef>
                <a:spcPts val="0"/>
              </a:spcBef>
              <a:spcAft>
                <a:spcPts val="1200"/>
              </a:spcAft>
            </a:pPr>
            <a:r>
              <a:rPr lang="en-US" dirty="0">
                <a:solidFill>
                  <a:schemeClr val="bg2"/>
                </a:solidFill>
              </a:rPr>
              <a:t>Provides meaningful connectivity service impact information before customer is aware of and support in root-cause analysis.</a:t>
            </a:r>
          </a:p>
          <a:p>
            <a:r>
              <a:rPr lang="en-US" b="1" dirty="0">
                <a:solidFill>
                  <a:schemeClr val="bg2"/>
                </a:solidFill>
              </a:rPr>
              <a:t>Data Mesh</a:t>
            </a:r>
          </a:p>
          <a:p>
            <a:pPr>
              <a:spcBef>
                <a:spcPts val="0"/>
              </a:spcBef>
              <a:spcAft>
                <a:spcPts val="1200"/>
              </a:spcAft>
            </a:pPr>
            <a:r>
              <a:rPr lang="en-US" dirty="0">
                <a:solidFill>
                  <a:schemeClr val="bg2"/>
                </a:solidFill>
              </a:rPr>
              <a:t>Consumes real-time Forwarding-Plane, Control-Plane and Management-Plane metrics and produces analytical alerts.</a:t>
            </a:r>
          </a:p>
          <a:p>
            <a:r>
              <a:rPr lang="en-US" b="1" dirty="0">
                <a:solidFill>
                  <a:schemeClr val="bg2"/>
                </a:solidFill>
              </a:rPr>
              <a:t>Direction</a:t>
            </a:r>
          </a:p>
          <a:p>
            <a:pPr>
              <a:spcBef>
                <a:spcPts val="0"/>
              </a:spcBef>
              <a:spcAft>
                <a:spcPts val="1200"/>
              </a:spcAft>
            </a:pPr>
            <a:r>
              <a:rPr lang="en-US" dirty="0">
                <a:solidFill>
                  <a:schemeClr val="bg2"/>
                </a:solidFill>
              </a:rPr>
              <a:t>From connectivity service to network platform.</a:t>
            </a:r>
          </a:p>
        </p:txBody>
      </p:sp>
      <p:sp>
        <p:nvSpPr>
          <p:cNvPr id="17" name="Inhaltsplatzhalter 1">
            <a:extLst>
              <a:ext uri="{FF2B5EF4-FFF2-40B4-BE49-F238E27FC236}">
                <a16:creationId xmlns:a16="http://schemas.microsoft.com/office/drawing/2014/main" id="{E93810E2-6DE6-4406-AD4F-4A0F58C3FDCE}"/>
              </a:ext>
            </a:extLst>
          </p:cNvPr>
          <p:cNvSpPr txBox="1">
            <a:spLocks/>
          </p:cNvSpPr>
          <p:nvPr/>
        </p:nvSpPr>
        <p:spPr bwMode="black">
          <a:xfrm>
            <a:off x="7680624" y="3125839"/>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23" name="Freeform 81">
            <a:extLst>
              <a:ext uri="{FF2B5EF4-FFF2-40B4-BE49-F238E27FC236}">
                <a16:creationId xmlns:a16="http://schemas.microsoft.com/office/drawing/2014/main" id="{D8A77483-C2E2-4B4E-A644-4E33880949FE}"/>
              </a:ext>
            </a:extLst>
          </p:cNvPr>
          <p:cNvSpPr>
            <a:spLocks noEditPoints="1"/>
          </p:cNvSpPr>
          <p:nvPr>
            <p:custDataLst>
              <p:tags r:id="rId1"/>
            </p:custDataLst>
          </p:nvPr>
        </p:nvSpPr>
        <p:spPr bwMode="black">
          <a:xfrm>
            <a:off x="7090391" y="2842958"/>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7" name="Inhaltsplatzhalter 1">
            <a:extLst>
              <a:ext uri="{FF2B5EF4-FFF2-40B4-BE49-F238E27FC236}">
                <a16:creationId xmlns:a16="http://schemas.microsoft.com/office/drawing/2014/main" id="{37005D77-8001-3F13-716B-371F99376907}"/>
              </a:ext>
            </a:extLst>
          </p:cNvPr>
          <p:cNvSpPr txBox="1">
            <a:spLocks/>
          </p:cNvSpPr>
          <p:nvPr/>
        </p:nvSpPr>
        <p:spPr bwMode="black">
          <a:xfrm>
            <a:off x="7680624" y="5130293"/>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9" name="Graphic 8">
            <a:extLst>
              <a:ext uri="{FF2B5EF4-FFF2-40B4-BE49-F238E27FC236}">
                <a16:creationId xmlns:a16="http://schemas.microsoft.com/office/drawing/2014/main" id="{71DAF181-D074-7760-E09F-0AB78B27210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49497" y="1477305"/>
            <a:ext cx="410400" cy="410400"/>
          </a:xfrm>
          <a:prstGeom prst="rect">
            <a:avLst/>
          </a:prstGeom>
        </p:spPr>
      </p:pic>
      <p:pic>
        <p:nvPicPr>
          <p:cNvPr id="10" name="Graphic 9">
            <a:extLst>
              <a:ext uri="{FF2B5EF4-FFF2-40B4-BE49-F238E27FC236}">
                <a16:creationId xmlns:a16="http://schemas.microsoft.com/office/drawing/2014/main" id="{22B4E393-5B7A-F6B1-785F-12500A69B7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49497" y="5575437"/>
            <a:ext cx="410400" cy="410400"/>
          </a:xfrm>
          <a:prstGeom prst="rect">
            <a:avLst/>
          </a:prstGeom>
        </p:spPr>
      </p:pic>
      <p:sp>
        <p:nvSpPr>
          <p:cNvPr id="30" name="Inhaltsplatzhalter 1">
            <a:extLst>
              <a:ext uri="{FF2B5EF4-FFF2-40B4-BE49-F238E27FC236}">
                <a16:creationId xmlns:a16="http://schemas.microsoft.com/office/drawing/2014/main" id="{A109E3B2-328D-FF80-88C3-F3CDB8FAF327}"/>
              </a:ext>
            </a:extLst>
          </p:cNvPr>
          <p:cNvSpPr txBox="1">
            <a:spLocks/>
          </p:cNvSpPr>
          <p:nvPr/>
        </p:nvSpPr>
        <p:spPr bwMode="black">
          <a:xfrm>
            <a:off x="7680624" y="4756161"/>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3" name="Graphic 32">
            <a:extLst>
              <a:ext uri="{FF2B5EF4-FFF2-40B4-BE49-F238E27FC236}">
                <a16:creationId xmlns:a16="http://schemas.microsoft.com/office/drawing/2014/main" id="{D48C17D3-21B8-7BF8-5F6C-06016FE0C45F}"/>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048417" y="4190621"/>
            <a:ext cx="411480" cy="411480"/>
          </a:xfrm>
          <a:prstGeom prst="rect">
            <a:avLst/>
          </a:prstGeom>
        </p:spPr>
      </p:pic>
      <p:pic>
        <p:nvPicPr>
          <p:cNvPr id="4" name="Picture 3">
            <a:extLst>
              <a:ext uri="{FF2B5EF4-FFF2-40B4-BE49-F238E27FC236}">
                <a16:creationId xmlns:a16="http://schemas.microsoft.com/office/drawing/2014/main" id="{208FA0DA-DF83-21AD-2B51-8774677F0B4D}"/>
              </a:ext>
            </a:extLst>
          </p:cNvPr>
          <p:cNvPicPr>
            <a:picLocks noChangeAspect="1"/>
          </p:cNvPicPr>
          <p:nvPr/>
        </p:nvPicPr>
        <p:blipFill>
          <a:blip r:embed="rId10"/>
          <a:stretch>
            <a:fillRect/>
          </a:stretch>
        </p:blipFill>
        <p:spPr>
          <a:xfrm>
            <a:off x="1159465" y="669646"/>
            <a:ext cx="1685925" cy="1457325"/>
          </a:xfrm>
          <a:prstGeom prst="rect">
            <a:avLst/>
          </a:prstGeom>
        </p:spPr>
      </p:pic>
    </p:spTree>
    <p:extLst>
      <p:ext uri="{BB962C8B-B14F-4D97-AF65-F5344CB8AC3E}">
        <p14:creationId xmlns:p14="http://schemas.microsoft.com/office/powerpoint/2010/main" val="40466068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15</a:t>
            </a:fld>
            <a:endParaRPr lang="en-US" dirty="0"/>
          </a:p>
        </p:txBody>
      </p:sp>
      <p:sp>
        <p:nvSpPr>
          <p:cNvPr id="13" name="Text Placeholder 10">
            <a:extLst>
              <a:ext uri="{FF2B5EF4-FFF2-40B4-BE49-F238E27FC236}">
                <a16:creationId xmlns:a16="http://schemas.microsoft.com/office/drawing/2014/main" id="{CB2C03B0-BAD5-4D5D-BD4C-716FFCFABBC0}"/>
              </a:ext>
            </a:extLst>
          </p:cNvPr>
          <p:cNvSpPr txBox="1">
            <a:spLocks/>
          </p:cNvSpPr>
          <p:nvPr/>
        </p:nvSpPr>
        <p:spPr bwMode="black">
          <a:xfrm>
            <a:off x="2989854" y="38284"/>
            <a:ext cx="2900584" cy="2088687"/>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Network Service Level Indicator and Objective</a:t>
            </a:r>
          </a:p>
        </p:txBody>
      </p:sp>
      <p:sp>
        <p:nvSpPr>
          <p:cNvPr id="14" name="Inhaltsplatzhalter 2">
            <a:extLst>
              <a:ext uri="{FF2B5EF4-FFF2-40B4-BE49-F238E27FC236}">
                <a16:creationId xmlns:a16="http://schemas.microsoft.com/office/drawing/2014/main" id="{08CBAA49-8C50-4BBA-B474-64DAD99FD5A0}"/>
              </a:ext>
            </a:extLst>
          </p:cNvPr>
          <p:cNvSpPr txBox="1">
            <a:spLocks/>
          </p:cNvSpPr>
          <p:nvPr/>
        </p:nvSpPr>
        <p:spPr bwMode="black">
          <a:xfrm>
            <a:off x="1200150" y="2734056"/>
            <a:ext cx="5111750" cy="266514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sz="1800" dirty="0"/>
              <a:t>For inventoried L2 or L3 VPNs, </a:t>
            </a:r>
            <a:r>
              <a:rPr lang="en-US" sz="1800" b="1" dirty="0"/>
              <a:t>forwarding-plane loss and latency objectives (SLO) are established for each Quality of Service (QoS) class </a:t>
            </a:r>
            <a:r>
              <a:rPr lang="en-US" sz="1800" dirty="0"/>
              <a:t>in accordance with customer Service Level Agreement (SLA) criteria. Notifications of Service Level Objective (SLO) violations, along with the state of control-plane redundancy, management-plane interface and BGP peering, are raised when forwarding-plane loss or latency objectives are at risk of not being met. These notifications assist network reliability engineering and collaborating relevant platform team to quickly identify and resolve the issue.</a:t>
            </a:r>
          </a:p>
        </p:txBody>
      </p:sp>
      <p:pic>
        <p:nvPicPr>
          <p:cNvPr id="5" name="Picture 4">
            <a:extLst>
              <a:ext uri="{FF2B5EF4-FFF2-40B4-BE49-F238E27FC236}">
                <a16:creationId xmlns:a16="http://schemas.microsoft.com/office/drawing/2014/main" id="{9C69BE02-627C-6BCC-FC07-87D8804225F2}"/>
              </a:ext>
            </a:extLst>
          </p:cNvPr>
          <p:cNvPicPr>
            <a:picLocks noChangeAspect="1"/>
          </p:cNvPicPr>
          <p:nvPr/>
        </p:nvPicPr>
        <p:blipFill>
          <a:blip r:embed="rId4"/>
          <a:stretch>
            <a:fillRect/>
          </a:stretch>
        </p:blipFill>
        <p:spPr>
          <a:xfrm>
            <a:off x="1171810" y="740772"/>
            <a:ext cx="1673582" cy="1386199"/>
          </a:xfrm>
          <a:prstGeom prst="rect">
            <a:avLst/>
          </a:prstGeom>
        </p:spPr>
      </p:pic>
      <p:sp>
        <p:nvSpPr>
          <p:cNvPr id="29" name="Inhaltsplatzhalter 1">
            <a:extLst>
              <a:ext uri="{FF2B5EF4-FFF2-40B4-BE49-F238E27FC236}">
                <a16:creationId xmlns:a16="http://schemas.microsoft.com/office/drawing/2014/main" id="{5E31D67A-E230-97F5-B5B0-353D788AC446}"/>
              </a:ext>
            </a:extLst>
          </p:cNvPr>
          <p:cNvSpPr txBox="1">
            <a:spLocks/>
          </p:cNvSpPr>
          <p:nvPr/>
        </p:nvSpPr>
        <p:spPr bwMode="gray">
          <a:xfrm>
            <a:off x="6600825" y="-2"/>
            <a:ext cx="559117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30" name="Inhaltsplatzhalter 1">
            <a:extLst>
              <a:ext uri="{FF2B5EF4-FFF2-40B4-BE49-F238E27FC236}">
                <a16:creationId xmlns:a16="http://schemas.microsoft.com/office/drawing/2014/main" id="{E9931E81-4C56-3523-81AF-9F848723A3E7}"/>
              </a:ext>
            </a:extLst>
          </p:cNvPr>
          <p:cNvSpPr txBox="1">
            <a:spLocks/>
          </p:cNvSpPr>
          <p:nvPr/>
        </p:nvSpPr>
        <p:spPr bwMode="black">
          <a:xfrm>
            <a:off x="7680624" y="1193824"/>
            <a:ext cx="4032000"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Answers</a:t>
            </a:r>
          </a:p>
          <a:p>
            <a:pPr>
              <a:spcBef>
                <a:spcPts val="0"/>
              </a:spcBef>
              <a:spcAft>
                <a:spcPts val="1200"/>
              </a:spcAft>
            </a:pPr>
            <a:r>
              <a:rPr lang="en-US" dirty="0">
                <a:solidFill>
                  <a:schemeClr val="accent1"/>
                </a:solidFill>
              </a:rPr>
              <a:t>How much budget is left on a connectivity service? Does redundancy exist on all connection points? Is it safe to perform a maintenance window?</a:t>
            </a:r>
          </a:p>
          <a:p>
            <a:pPr>
              <a:spcBef>
                <a:spcPts val="0"/>
              </a:spcBef>
              <a:spcAft>
                <a:spcPts val="1200"/>
              </a:spcAft>
            </a:pPr>
            <a:r>
              <a:rPr lang="en-US" b="1" dirty="0">
                <a:solidFill>
                  <a:schemeClr val="bg2"/>
                </a:solidFill>
              </a:rPr>
              <a:t>Focuses</a:t>
            </a:r>
          </a:p>
          <a:p>
            <a:pPr>
              <a:spcBef>
                <a:spcPts val="0"/>
              </a:spcBef>
              <a:spcAft>
                <a:spcPts val="1200"/>
              </a:spcAft>
            </a:pPr>
            <a:r>
              <a:rPr lang="en-US" dirty="0">
                <a:solidFill>
                  <a:schemeClr val="bg2"/>
                </a:solidFill>
              </a:rPr>
              <a:t>Service connectivity state and how far state objectives are being fulfilled or not.</a:t>
            </a:r>
          </a:p>
          <a:p>
            <a:pPr>
              <a:spcBef>
                <a:spcPts val="0"/>
              </a:spcBef>
              <a:spcAft>
                <a:spcPts val="1200"/>
              </a:spcAft>
            </a:pPr>
            <a:r>
              <a:rPr lang="en-US" b="1" dirty="0">
                <a:solidFill>
                  <a:schemeClr val="bg2"/>
                </a:solidFill>
              </a:rPr>
              <a:t>Data Mesh</a:t>
            </a:r>
          </a:p>
          <a:p>
            <a:pPr>
              <a:spcBef>
                <a:spcPts val="0"/>
              </a:spcBef>
              <a:spcAft>
                <a:spcPts val="1200"/>
              </a:spcAft>
            </a:pPr>
            <a:r>
              <a:rPr lang="en-US" dirty="0">
                <a:solidFill>
                  <a:schemeClr val="bg2"/>
                </a:solidFill>
              </a:rPr>
              <a:t>Consumes real-time Forwarding-Plane, Control-Plane and Management-Plane metrics and produces analytical SLI metrics and SLO alerts..</a:t>
            </a:r>
          </a:p>
          <a:p>
            <a:r>
              <a:rPr lang="en-US" b="1" dirty="0">
                <a:solidFill>
                  <a:schemeClr val="bg2"/>
                </a:solidFill>
              </a:rPr>
              <a:t>Direction</a:t>
            </a:r>
          </a:p>
          <a:p>
            <a:pPr>
              <a:spcBef>
                <a:spcPts val="0"/>
              </a:spcBef>
              <a:spcAft>
                <a:spcPts val="1200"/>
              </a:spcAft>
            </a:pPr>
            <a:r>
              <a:rPr lang="en-US" dirty="0">
                <a:solidFill>
                  <a:schemeClr val="bg2"/>
                </a:solidFill>
              </a:rPr>
              <a:t>From connectivity service to network platform.</a:t>
            </a:r>
          </a:p>
        </p:txBody>
      </p:sp>
      <p:sp>
        <p:nvSpPr>
          <p:cNvPr id="31" name="Inhaltsplatzhalter 1">
            <a:extLst>
              <a:ext uri="{FF2B5EF4-FFF2-40B4-BE49-F238E27FC236}">
                <a16:creationId xmlns:a16="http://schemas.microsoft.com/office/drawing/2014/main" id="{899E1099-8E9C-E010-BD61-708EC0D0210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32" name="Freeform 81">
            <a:extLst>
              <a:ext uri="{FF2B5EF4-FFF2-40B4-BE49-F238E27FC236}">
                <a16:creationId xmlns:a16="http://schemas.microsoft.com/office/drawing/2014/main" id="{D03B6C09-90B1-0BDC-0F77-B10B14E255CC}"/>
              </a:ext>
            </a:extLst>
          </p:cNvPr>
          <p:cNvSpPr>
            <a:spLocks noEditPoints="1"/>
          </p:cNvSpPr>
          <p:nvPr>
            <p:custDataLst>
              <p:tags r:id="rId1"/>
            </p:custDataLst>
          </p:nvPr>
        </p:nvSpPr>
        <p:spPr bwMode="black">
          <a:xfrm>
            <a:off x="7090391" y="2779170"/>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33" name="Inhaltsplatzhalter 1">
            <a:extLst>
              <a:ext uri="{FF2B5EF4-FFF2-40B4-BE49-F238E27FC236}">
                <a16:creationId xmlns:a16="http://schemas.microsoft.com/office/drawing/2014/main" id="{A4DD281C-5EC9-07EB-ACE2-7F96577CFDCD}"/>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4" name="Graphic 33">
            <a:extLst>
              <a:ext uri="{FF2B5EF4-FFF2-40B4-BE49-F238E27FC236}">
                <a16:creationId xmlns:a16="http://schemas.microsoft.com/office/drawing/2014/main" id="{0F1E6861-5C06-BDA7-A57B-98A7C95B4E8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49497" y="1168966"/>
            <a:ext cx="410400" cy="410400"/>
          </a:xfrm>
          <a:prstGeom prst="rect">
            <a:avLst/>
          </a:prstGeom>
        </p:spPr>
      </p:pic>
      <p:pic>
        <p:nvPicPr>
          <p:cNvPr id="35" name="Graphic 34">
            <a:extLst>
              <a:ext uri="{FF2B5EF4-FFF2-40B4-BE49-F238E27FC236}">
                <a16:creationId xmlns:a16="http://schemas.microsoft.com/office/drawing/2014/main" id="{11B0AF31-0AD1-30F4-C200-6BBAEDE1D0F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49497" y="5532917"/>
            <a:ext cx="410400" cy="410400"/>
          </a:xfrm>
          <a:prstGeom prst="rect">
            <a:avLst/>
          </a:prstGeom>
        </p:spPr>
      </p:pic>
      <p:sp>
        <p:nvSpPr>
          <p:cNvPr id="36" name="Inhaltsplatzhalter 1">
            <a:extLst>
              <a:ext uri="{FF2B5EF4-FFF2-40B4-BE49-F238E27FC236}">
                <a16:creationId xmlns:a16="http://schemas.microsoft.com/office/drawing/2014/main" id="{9B32A904-AFE8-DC12-EF59-744285BB371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7" name="Graphic 36">
            <a:extLst>
              <a:ext uri="{FF2B5EF4-FFF2-40B4-BE49-F238E27FC236}">
                <a16:creationId xmlns:a16="http://schemas.microsoft.com/office/drawing/2014/main" id="{D12BB9BA-48A7-14FF-0708-466708714868}"/>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048417" y="3818486"/>
            <a:ext cx="411480" cy="411480"/>
          </a:xfrm>
          <a:prstGeom prst="rect">
            <a:avLst/>
          </a:prstGeom>
        </p:spPr>
      </p:pic>
    </p:spTree>
    <p:extLst>
      <p:ext uri="{BB962C8B-B14F-4D97-AF65-F5344CB8AC3E}">
        <p14:creationId xmlns:p14="http://schemas.microsoft.com/office/powerpoint/2010/main" val="2917474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212616" y="4076414"/>
            <a:ext cx="5112000" cy="43363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Adj-RIB-Out in BGP Monitoring Protocol</a:t>
            </a:r>
            <a:br>
              <a:rPr lang="en-US" sz="1200" b="1" dirty="0"/>
            </a:br>
            <a:r>
              <a:rPr lang="en-US" sz="1200" dirty="0">
                <a:hlinkClick r:id="rId3"/>
              </a:rPr>
              <a:t>https://tools.ietf.org/html/rfc8671</a:t>
            </a:r>
            <a:endParaRPr lang="de-CH" sz="1200" dirty="0"/>
          </a:p>
          <a:p>
            <a:pPr lvl="1"/>
            <a:endParaRPr lang="de-CH" sz="1200" dirty="0"/>
          </a:p>
        </p:txBody>
      </p:sp>
      <p:sp>
        <p:nvSpPr>
          <p:cNvPr id="44" name="Inhaltsplatzhalter 1">
            <a:extLst>
              <a:ext uri="{FF2B5EF4-FFF2-40B4-BE49-F238E27FC236}">
                <a16:creationId xmlns:a16="http://schemas.microsoft.com/office/drawing/2014/main" id="{64B7D386-3353-4CDA-943C-E014E52180F3}"/>
              </a:ext>
            </a:extLst>
          </p:cNvPr>
          <p:cNvSpPr txBox="1">
            <a:spLocks/>
          </p:cNvSpPr>
          <p:nvPr/>
        </p:nvSpPr>
        <p:spPr bwMode="black">
          <a:xfrm>
            <a:off x="1213569" y="3573111"/>
            <a:ext cx="5112000" cy="43363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Local RIB in BGP Monitoring Protocol</a:t>
            </a:r>
            <a:br>
              <a:rPr lang="de-CH" sz="1200" b="1" dirty="0"/>
            </a:br>
            <a:r>
              <a:rPr lang="de-CH" sz="1200" dirty="0">
                <a:hlinkClick r:id="rId4"/>
              </a:rPr>
              <a:t>https://datatracker.ietf.org/doc/html/rfc9069</a:t>
            </a:r>
            <a:endParaRPr lang="de-CH" sz="1200" dirty="0"/>
          </a:p>
          <a:p>
            <a:pPr lvl="1"/>
            <a:endParaRPr lang="de-CH" sz="1200" dirty="0"/>
          </a:p>
        </p:txBody>
      </p:sp>
      <p:sp>
        <p:nvSpPr>
          <p:cNvPr id="43" name="Rectangle 18">
            <a:extLst>
              <a:ext uri="{FF2B5EF4-FFF2-40B4-BE49-F238E27FC236}">
                <a16:creationId xmlns:a16="http://schemas.microsoft.com/office/drawing/2014/main" id="{9CCB233A-5ACE-4DD5-B693-FDD076B061A2}"/>
              </a:ext>
            </a:extLst>
          </p:cNvPr>
          <p:cNvSpPr/>
          <p:nvPr/>
        </p:nvSpPr>
        <p:spPr bwMode="gray">
          <a:xfrm>
            <a:off x="6600825" y="0"/>
            <a:ext cx="5591175" cy="6858000"/>
          </a:xfrm>
          <a:prstGeom prst="rect">
            <a:avLst/>
          </a:prstGeom>
          <a:solidFill>
            <a:srgbClr val="DDE3E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6" name="Titel 5"/>
          <p:cNvSpPr>
            <a:spLocks noGrp="1"/>
          </p:cNvSpPr>
          <p:nvPr>
            <p:ph type="title"/>
          </p:nvPr>
        </p:nvSpPr>
        <p:spPr>
          <a:xfrm>
            <a:off x="1199455" y="332656"/>
            <a:ext cx="5401370" cy="720000"/>
          </a:xfrm>
        </p:spPr>
        <p:txBody>
          <a:bodyPr/>
          <a:lstStyle/>
          <a:p>
            <a:r>
              <a:rPr lang="en-US" sz="2800"/>
              <a:t>BMP Covering all RIB's</a:t>
            </a:r>
            <a:br>
              <a:rPr lang="en-US" sz="2800"/>
            </a:br>
            <a:r>
              <a:rPr lang="en-US" b="0">
                <a:solidFill>
                  <a:schemeClr val="bg1">
                    <a:lumMod val="65000"/>
                  </a:schemeClr>
                </a:solidFill>
              </a:rPr>
              <a:t>Extends much needed RIB coverage</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199456" y="1484783"/>
            <a:ext cx="4752528" cy="1942557"/>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BGP route exposure without BMP is a challenge of the first order:</a:t>
            </a:r>
          </a:p>
          <a:p>
            <a:pPr marL="182563" lvl="1" indent="-182563">
              <a:spcBef>
                <a:spcPts val="600"/>
              </a:spcBef>
              <a:buClr>
                <a:schemeClr val="accent2"/>
              </a:buClr>
              <a:buFont typeface="TheSans Swisscom" pitchFamily="34" charset="0"/>
              <a:buChar char="&gt;"/>
            </a:pPr>
            <a:r>
              <a:rPr lang="en-US" sz="1400" dirty="0"/>
              <a:t>Only best path is exposed (missing best-external and ECMP routes)</a:t>
            </a:r>
          </a:p>
          <a:p>
            <a:pPr marL="182563" lvl="1" indent="-182563">
              <a:spcBef>
                <a:spcPts val="600"/>
              </a:spcBef>
              <a:buClr>
                <a:schemeClr val="accent2"/>
              </a:buClr>
              <a:buFont typeface="TheSans Swisscom" pitchFamily="34" charset="0"/>
              <a:buChar char="&gt;"/>
            </a:pPr>
            <a:r>
              <a:rPr lang="en-US" sz="1400" dirty="0"/>
              <a:t>Next-hop attribute not preserved all the time</a:t>
            </a:r>
          </a:p>
          <a:p>
            <a:pPr marL="182563" lvl="1" indent="-182563">
              <a:spcBef>
                <a:spcPts val="600"/>
              </a:spcBef>
              <a:buClr>
                <a:schemeClr val="accent2"/>
              </a:buClr>
              <a:buFont typeface="TheSans Swisscom" pitchFamily="34" charset="0"/>
              <a:buChar char="&gt;"/>
            </a:pPr>
            <a:r>
              <a:rPr lang="en-US" sz="1400" dirty="0"/>
              <a:t>Filtering between RIB's not visible</a:t>
            </a:r>
          </a:p>
        </p:txBody>
      </p:sp>
      <p:grpSp>
        <p:nvGrpSpPr>
          <p:cNvPr id="27" name="Gruppieren 1">
            <a:extLst>
              <a:ext uri="{FF2B5EF4-FFF2-40B4-BE49-F238E27FC236}">
                <a16:creationId xmlns:a16="http://schemas.microsoft.com/office/drawing/2014/main" id="{55249625-AF62-4FE7-857A-F0B81D5EB9E3}"/>
              </a:ext>
            </a:extLst>
          </p:cNvPr>
          <p:cNvGrpSpPr/>
          <p:nvPr/>
        </p:nvGrpSpPr>
        <p:grpSpPr bwMode="blackGray">
          <a:xfrm>
            <a:off x="1212616" y="5089573"/>
            <a:ext cx="5112000" cy="1224005"/>
            <a:chOff x="6672263" y="4581127"/>
            <a:chExt cx="5492668" cy="1224005"/>
          </a:xfrm>
        </p:grpSpPr>
        <p:sp>
          <p:nvSpPr>
            <p:cNvPr id="28" name="Rechteck 14">
              <a:extLst>
                <a:ext uri="{FF2B5EF4-FFF2-40B4-BE49-F238E27FC236}">
                  <a16:creationId xmlns:a16="http://schemas.microsoft.com/office/drawing/2014/main" id="{A5B45056-ACE1-4872-B0A0-2C8E89C22659}"/>
                </a:ext>
              </a:extLst>
            </p:cNvPr>
            <p:cNvSpPr/>
            <p:nvPr/>
          </p:nvSpPr>
          <p:spPr bwMode="blackGray">
            <a:xfrm>
              <a:off x="6672263" y="4581127"/>
              <a:ext cx="5492668" cy="1224005"/>
            </a:xfrm>
            <a:prstGeom prst="rect">
              <a:avLst/>
            </a:prstGeom>
            <a:solidFill>
              <a:srgbClr val="EEF3F6"/>
            </a:solidFill>
            <a:ln w="6350">
              <a:noFill/>
            </a:ln>
          </p:spPr>
          <p:style>
            <a:lnRef idx="1">
              <a:schemeClr val="accent1"/>
            </a:lnRef>
            <a:fillRef idx="0">
              <a:schemeClr val="accent1"/>
            </a:fillRef>
            <a:effectRef idx="0">
              <a:schemeClr val="accent1"/>
            </a:effectRef>
            <a:fontRef idx="minor">
              <a:schemeClr val="tx1"/>
            </a:fontRef>
          </p:style>
          <p:txBody>
            <a:bodyPr lIns="216000" tIns="216000" rIns="216000" bIns="216000" rtlCol="0" anchor="t"/>
            <a:lstStyle/>
            <a:p>
              <a:pPr>
                <a:tabLst>
                  <a:tab pos="180975" algn="l"/>
                </a:tabLst>
              </a:pPr>
              <a:r>
                <a:rPr lang="en-US" sz="1400" dirty="0">
                  <a:solidFill>
                    <a:schemeClr val="tx1"/>
                  </a:solidFill>
                </a:rPr>
                <a:t>Adj-RIB-Out </a:t>
              </a:r>
              <a:r>
                <a:rPr lang="en-US" sz="1400" dirty="0"/>
                <a:t>an RFC since November 2019</a:t>
              </a:r>
              <a:r>
                <a:rPr lang="en-US" sz="1400" dirty="0">
                  <a:solidFill>
                    <a:schemeClr val="tx1"/>
                  </a:solidFill>
                </a:rPr>
                <a:t>. </a:t>
              </a:r>
              <a:r>
                <a:rPr lang="en-US" sz="1400" b="1" dirty="0">
                  <a:solidFill>
                    <a:schemeClr val="tx1"/>
                  </a:solidFill>
                </a:rPr>
                <a:t>Local RIB since February 2022</a:t>
              </a:r>
              <a:r>
                <a:rPr lang="en-US" sz="1400" dirty="0">
                  <a:solidFill>
                    <a:schemeClr val="tx1"/>
                  </a:solidFill>
                </a:rPr>
                <a:t>. Juniper, Huawei and Nokia have public releases available supporting both. Cisco has test code available but haven't released yet.</a:t>
              </a:r>
            </a:p>
          </p:txBody>
        </p:sp>
        <p:cxnSp>
          <p:nvCxnSpPr>
            <p:cNvPr id="30" name="Gerader Verbinder 15">
              <a:extLst>
                <a:ext uri="{FF2B5EF4-FFF2-40B4-BE49-F238E27FC236}">
                  <a16:creationId xmlns:a16="http://schemas.microsoft.com/office/drawing/2014/main" id="{FD34155A-BD3A-4DC9-9CA5-EC00CD471132}"/>
                </a:ext>
              </a:extLst>
            </p:cNvPr>
            <p:cNvCxnSpPr/>
            <p:nvPr/>
          </p:nvCxnSpPr>
          <p:spPr bwMode="blackGray">
            <a:xfrm>
              <a:off x="6672263" y="4581128"/>
              <a:ext cx="5492668" cy="0"/>
            </a:xfrm>
            <a:prstGeom prst="line">
              <a:avLst/>
            </a:prstGeom>
            <a:ln w="28575">
              <a:solidFill>
                <a:srgbClr val="1781E3"/>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CBE31C6F-5E48-4811-8899-5FE819D73BC5}"/>
              </a:ext>
            </a:extLst>
          </p:cNvPr>
          <p:cNvPicPr>
            <a:picLocks noChangeAspect="1"/>
          </p:cNvPicPr>
          <p:nvPr/>
        </p:nvPicPr>
        <p:blipFill rotWithShape="1">
          <a:blip r:embed="rId5"/>
          <a:srcRect r="17107" b="17194"/>
          <a:stretch/>
        </p:blipFill>
        <p:spPr>
          <a:xfrm>
            <a:off x="6807832" y="1196752"/>
            <a:ext cx="5367747" cy="5376160"/>
          </a:xfrm>
          <a:prstGeom prst="rect">
            <a:avLst/>
          </a:prstGeom>
        </p:spPr>
      </p:pic>
      <p:cxnSp>
        <p:nvCxnSpPr>
          <p:cNvPr id="13" name="Straight Arrow Connector 12">
            <a:extLst>
              <a:ext uri="{FF2B5EF4-FFF2-40B4-BE49-F238E27FC236}">
                <a16:creationId xmlns:a16="http://schemas.microsoft.com/office/drawing/2014/main" id="{AF1CE118-0602-4653-A301-05FAD9459B0C}"/>
              </a:ext>
            </a:extLst>
          </p:cNvPr>
          <p:cNvCxnSpPr>
            <a:cxnSpLocks/>
          </p:cNvCxnSpPr>
          <p:nvPr/>
        </p:nvCxnSpPr>
        <p:spPr bwMode="gray">
          <a:xfrm>
            <a:off x="5257800" y="3657600"/>
            <a:ext cx="1828800" cy="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AE26FE9E-C0C7-4851-95CC-A49D5EFB486F}"/>
              </a:ext>
            </a:extLst>
          </p:cNvPr>
          <p:cNvCxnSpPr>
            <a:cxnSpLocks/>
          </p:cNvCxnSpPr>
          <p:nvPr/>
        </p:nvCxnSpPr>
        <p:spPr bwMode="gray">
          <a:xfrm>
            <a:off x="5334000" y="4191000"/>
            <a:ext cx="1752600" cy="319044"/>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0121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221779" y="3757277"/>
            <a:ext cx="5112000"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Enterprise-specific TLVs in the BGP Monitoring Protocol</a:t>
            </a:r>
            <a:br>
              <a:rPr lang="en-US" b="1" dirty="0"/>
            </a:br>
            <a:r>
              <a:rPr lang="en-US" sz="1200" dirty="0">
                <a:hlinkClick r:id="rId3"/>
              </a:rPr>
              <a:t>https://tools.ietf.org/html/draft-lucente-grow-bmp-tlv-ebit</a:t>
            </a:r>
            <a:endParaRPr lang="en-US" sz="1200" dirty="0"/>
          </a:p>
        </p:txBody>
      </p:sp>
      <p:sp>
        <p:nvSpPr>
          <p:cNvPr id="44" name="Inhaltsplatzhalter 1">
            <a:extLst>
              <a:ext uri="{FF2B5EF4-FFF2-40B4-BE49-F238E27FC236}">
                <a16:creationId xmlns:a16="http://schemas.microsoft.com/office/drawing/2014/main" id="{64B7D386-3353-4CDA-943C-E014E52180F3}"/>
              </a:ext>
            </a:extLst>
          </p:cNvPr>
          <p:cNvSpPr txBox="1">
            <a:spLocks/>
          </p:cNvSpPr>
          <p:nvPr/>
        </p:nvSpPr>
        <p:spPr bwMode="black">
          <a:xfrm>
            <a:off x="1212616" y="4297275"/>
            <a:ext cx="5111047"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BMP Extension for Path Marking TLV</a:t>
            </a:r>
            <a:br>
              <a:rPr lang="en-US" sz="1200" b="1" dirty="0"/>
            </a:br>
            <a:r>
              <a:rPr lang="en-US" sz="1200" dirty="0">
                <a:hlinkClick r:id="rId4"/>
              </a:rPr>
              <a:t>https://tools.ietf.org/html/draft-cppy-grow-bmp-path-marking-tlv</a:t>
            </a:r>
            <a:endParaRPr lang="en-US" sz="1200" dirty="0"/>
          </a:p>
          <a:p>
            <a:pPr lvl="1"/>
            <a:endParaRPr lang="de-CH" dirty="0"/>
          </a:p>
        </p:txBody>
      </p:sp>
      <p:sp>
        <p:nvSpPr>
          <p:cNvPr id="43" name="Rectangle 18">
            <a:extLst>
              <a:ext uri="{FF2B5EF4-FFF2-40B4-BE49-F238E27FC236}">
                <a16:creationId xmlns:a16="http://schemas.microsoft.com/office/drawing/2014/main" id="{9CCB233A-5ACE-4DD5-B693-FDD076B061A2}"/>
              </a:ext>
            </a:extLst>
          </p:cNvPr>
          <p:cNvSpPr/>
          <p:nvPr/>
        </p:nvSpPr>
        <p:spPr bwMode="gray">
          <a:xfrm>
            <a:off x="6600825" y="-32208"/>
            <a:ext cx="5591175" cy="6858000"/>
          </a:xfrm>
          <a:prstGeom prst="rect">
            <a:avLst/>
          </a:prstGeom>
          <a:solidFill>
            <a:srgbClr val="DDE3E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6" name="Titel 5"/>
          <p:cNvSpPr>
            <a:spLocks noGrp="1"/>
          </p:cNvSpPr>
          <p:nvPr>
            <p:ph type="title"/>
          </p:nvPr>
        </p:nvSpPr>
        <p:spPr>
          <a:xfrm>
            <a:off x="1199455" y="332656"/>
            <a:ext cx="5401370" cy="720000"/>
          </a:xfrm>
        </p:spPr>
        <p:txBody>
          <a:bodyPr/>
          <a:lstStyle/>
          <a:p>
            <a:r>
              <a:rPr lang="en-US" sz="2800"/>
              <a:t>BMP with extended TLV support</a:t>
            </a:r>
            <a:br>
              <a:rPr lang="en-US" sz="2800" b="0">
                <a:solidFill>
                  <a:schemeClr val="bg1">
                    <a:lumMod val="65000"/>
                  </a:schemeClr>
                </a:solidFill>
              </a:rPr>
            </a:br>
            <a:r>
              <a:rPr lang="en-US" b="0">
                <a:solidFill>
                  <a:schemeClr val="bg1">
                    <a:lumMod val="65000"/>
                  </a:schemeClr>
                </a:solidFill>
              </a:rPr>
              <a:t>Brings visibility into FIB's and route-policies</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212616" y="1342587"/>
            <a:ext cx="4752528" cy="180010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Knowing all the routes in all the RIB's brings the new challenge</a:t>
            </a:r>
          </a:p>
          <a:p>
            <a:pPr marL="182563" lvl="1" indent="-182563">
              <a:spcBef>
                <a:spcPts val="600"/>
              </a:spcBef>
              <a:buClr>
                <a:schemeClr val="accent2"/>
              </a:buClr>
              <a:buFont typeface="TheSans Swisscom" pitchFamily="34" charset="0"/>
              <a:buChar char="&gt;"/>
            </a:pPr>
            <a:r>
              <a:rPr lang="en-US" sz="1400" dirty="0"/>
              <a:t>That we don't know how they are being used in the FIB/RIB (which one is best, best-external, ECMP, backup)</a:t>
            </a:r>
          </a:p>
          <a:p>
            <a:pPr marL="182563" lvl="1" indent="-182563">
              <a:spcBef>
                <a:spcPts val="600"/>
              </a:spcBef>
              <a:buClr>
                <a:schemeClr val="accent2"/>
              </a:buClr>
              <a:buFont typeface="TheSans Swisscom" pitchFamily="34" charset="0"/>
              <a:buChar char="&gt;"/>
            </a:pPr>
            <a:r>
              <a:rPr lang="en-US" sz="1400" dirty="0"/>
              <a:t>That we don't know which route-policy permitted/denied/changed which prefix/attribute</a:t>
            </a:r>
          </a:p>
        </p:txBody>
      </p:sp>
      <p:grpSp>
        <p:nvGrpSpPr>
          <p:cNvPr id="27" name="Gruppieren 1">
            <a:extLst>
              <a:ext uri="{FF2B5EF4-FFF2-40B4-BE49-F238E27FC236}">
                <a16:creationId xmlns:a16="http://schemas.microsoft.com/office/drawing/2014/main" id="{55249625-AF62-4FE7-857A-F0B81D5EB9E3}"/>
              </a:ext>
            </a:extLst>
          </p:cNvPr>
          <p:cNvGrpSpPr/>
          <p:nvPr/>
        </p:nvGrpSpPr>
        <p:grpSpPr bwMode="blackGray">
          <a:xfrm>
            <a:off x="1212616" y="5433307"/>
            <a:ext cx="5112000" cy="1205627"/>
            <a:chOff x="6672263" y="4581127"/>
            <a:chExt cx="5492668" cy="1205627"/>
          </a:xfrm>
        </p:grpSpPr>
        <p:sp>
          <p:nvSpPr>
            <p:cNvPr id="28" name="Rechteck 14">
              <a:extLst>
                <a:ext uri="{FF2B5EF4-FFF2-40B4-BE49-F238E27FC236}">
                  <a16:creationId xmlns:a16="http://schemas.microsoft.com/office/drawing/2014/main" id="{A5B45056-ACE1-4872-B0A0-2C8E89C22659}"/>
                </a:ext>
              </a:extLst>
            </p:cNvPr>
            <p:cNvSpPr/>
            <p:nvPr/>
          </p:nvSpPr>
          <p:spPr bwMode="blackGray">
            <a:xfrm>
              <a:off x="6672263" y="4581127"/>
              <a:ext cx="5492668" cy="1205627"/>
            </a:xfrm>
            <a:prstGeom prst="rect">
              <a:avLst/>
            </a:prstGeom>
            <a:solidFill>
              <a:srgbClr val="EEF3F6"/>
            </a:solidFill>
            <a:ln w="6350">
              <a:noFill/>
            </a:ln>
          </p:spPr>
          <p:style>
            <a:lnRef idx="1">
              <a:schemeClr val="accent1"/>
            </a:lnRef>
            <a:fillRef idx="0">
              <a:schemeClr val="accent1"/>
            </a:fillRef>
            <a:effectRef idx="0">
              <a:schemeClr val="accent1"/>
            </a:effectRef>
            <a:fontRef idx="minor">
              <a:schemeClr val="tx1"/>
            </a:fontRef>
          </p:style>
          <p:txBody>
            <a:bodyPr lIns="216000" tIns="216000" rIns="216000" bIns="216000" rtlCol="0" anchor="t"/>
            <a:lstStyle/>
            <a:p>
              <a:pPr>
                <a:tabLst>
                  <a:tab pos="180975" algn="l"/>
                </a:tabLst>
              </a:pPr>
              <a:r>
                <a:rPr lang="en-US" sz="1400" dirty="0">
                  <a:solidFill>
                    <a:schemeClr val="tx1"/>
                  </a:solidFill>
                </a:rPr>
                <a:t>For IETF 110 Hackathon, IETF lab network with Big Data integration has </a:t>
              </a:r>
              <a:r>
                <a:rPr lang="en-US" sz="1400" dirty="0"/>
                <a:t>been further extended </a:t>
              </a:r>
              <a:r>
                <a:rPr lang="en-US" sz="1400" dirty="0">
                  <a:solidFill>
                    <a:schemeClr val="tx1"/>
                  </a:solidFill>
                </a:rPr>
                <a:t>to collaborate development research with ETHZ, INSA, </a:t>
              </a:r>
              <a:r>
                <a:rPr lang="en-US" sz="1400" dirty="0"/>
                <a:t>C</a:t>
              </a:r>
              <a:r>
                <a:rPr lang="en-US" sz="1400" dirty="0">
                  <a:solidFill>
                    <a:schemeClr val="tx1"/>
                  </a:solidFill>
                </a:rPr>
                <a:t>isco, Huawei and </a:t>
              </a:r>
              <a:r>
                <a:rPr lang="en-US" sz="1400" dirty="0" err="1">
                  <a:solidFill>
                    <a:schemeClr val="tx1"/>
                  </a:solidFill>
                </a:rPr>
                <a:t>pmacct</a:t>
              </a:r>
              <a:r>
                <a:rPr lang="en-US" sz="1400" dirty="0">
                  <a:solidFill>
                    <a:schemeClr val="tx1"/>
                  </a:solidFill>
                </a:rPr>
                <a:t> (open source data-collection by Paolo Lucente).</a:t>
              </a:r>
            </a:p>
          </p:txBody>
        </p:sp>
        <p:cxnSp>
          <p:nvCxnSpPr>
            <p:cNvPr id="30" name="Gerader Verbinder 15">
              <a:extLst>
                <a:ext uri="{FF2B5EF4-FFF2-40B4-BE49-F238E27FC236}">
                  <a16:creationId xmlns:a16="http://schemas.microsoft.com/office/drawing/2014/main" id="{FD34155A-BD3A-4DC9-9CA5-EC00CD471132}"/>
                </a:ext>
              </a:extLst>
            </p:cNvPr>
            <p:cNvCxnSpPr/>
            <p:nvPr/>
          </p:nvCxnSpPr>
          <p:spPr bwMode="blackGray">
            <a:xfrm>
              <a:off x="6672263" y="4581128"/>
              <a:ext cx="5492668" cy="0"/>
            </a:xfrm>
            <a:prstGeom prst="line">
              <a:avLst/>
            </a:prstGeom>
            <a:ln w="28575">
              <a:solidFill>
                <a:srgbClr val="1781E3"/>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CBE31C6F-5E48-4811-8899-5FE819D73BC5}"/>
              </a:ext>
            </a:extLst>
          </p:cNvPr>
          <p:cNvPicPr>
            <a:picLocks noChangeAspect="1"/>
          </p:cNvPicPr>
          <p:nvPr/>
        </p:nvPicPr>
        <p:blipFill rotWithShape="1">
          <a:blip r:embed="rId5"/>
          <a:srcRect r="17107" b="17194"/>
          <a:stretch/>
        </p:blipFill>
        <p:spPr>
          <a:xfrm>
            <a:off x="6807832" y="1196752"/>
            <a:ext cx="5367747" cy="5376160"/>
          </a:xfrm>
          <a:prstGeom prst="rect">
            <a:avLst/>
          </a:prstGeom>
        </p:spPr>
      </p:pic>
      <p:sp>
        <p:nvSpPr>
          <p:cNvPr id="13" name="Inhaltsplatzhalter 1">
            <a:extLst>
              <a:ext uri="{FF2B5EF4-FFF2-40B4-BE49-F238E27FC236}">
                <a16:creationId xmlns:a16="http://schemas.microsoft.com/office/drawing/2014/main" id="{7A3A3EFF-D1F5-441A-A24B-DA85679D0512}"/>
              </a:ext>
            </a:extLst>
          </p:cNvPr>
          <p:cNvSpPr txBox="1">
            <a:spLocks/>
          </p:cNvSpPr>
          <p:nvPr/>
        </p:nvSpPr>
        <p:spPr bwMode="black">
          <a:xfrm>
            <a:off x="1222732" y="4837273"/>
            <a:ext cx="5111047"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a:t>Logging of routing events in BGP Monitoring Protocol</a:t>
            </a:r>
            <a:br>
              <a:rPr lang="en-US" sz="1200" b="1" dirty="0"/>
            </a:br>
            <a:r>
              <a:rPr lang="en-US" sz="1200" dirty="0">
                <a:hlinkClick r:id="rId6"/>
              </a:rPr>
              <a:t>https://datatracker.ietf.org/doc/html/draft-ietf-grow-bmp-rel</a:t>
            </a:r>
            <a:endParaRPr lang="en-US" sz="1200" dirty="0"/>
          </a:p>
        </p:txBody>
      </p:sp>
      <p:cxnSp>
        <p:nvCxnSpPr>
          <p:cNvPr id="10" name="Straight Arrow Connector 9">
            <a:extLst>
              <a:ext uri="{FF2B5EF4-FFF2-40B4-BE49-F238E27FC236}">
                <a16:creationId xmlns:a16="http://schemas.microsoft.com/office/drawing/2014/main" id="{8EC4BCCF-A71A-43AB-9497-346DAB8BAF99}"/>
              </a:ext>
            </a:extLst>
          </p:cNvPr>
          <p:cNvCxnSpPr>
            <a:cxnSpLocks/>
          </p:cNvCxnSpPr>
          <p:nvPr/>
        </p:nvCxnSpPr>
        <p:spPr bwMode="gray">
          <a:xfrm>
            <a:off x="5965144" y="3667002"/>
            <a:ext cx="1273856" cy="2820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3263C7EE-D731-4A02-A296-F68908941CBE}"/>
              </a:ext>
            </a:extLst>
          </p:cNvPr>
          <p:cNvCxnSpPr>
            <a:cxnSpLocks/>
          </p:cNvCxnSpPr>
          <p:nvPr/>
        </p:nvCxnSpPr>
        <p:spPr bwMode="gray">
          <a:xfrm>
            <a:off x="5965144" y="4221334"/>
            <a:ext cx="5005077" cy="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E03AE089-AAAF-482D-8FCC-016EE258449E}"/>
              </a:ext>
            </a:extLst>
          </p:cNvPr>
          <p:cNvCxnSpPr>
            <a:cxnSpLocks/>
          </p:cNvCxnSpPr>
          <p:nvPr/>
        </p:nvCxnSpPr>
        <p:spPr bwMode="gray">
          <a:xfrm>
            <a:off x="6119597" y="5139430"/>
            <a:ext cx="671814" cy="161899"/>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sp>
        <p:nvSpPr>
          <p:cNvPr id="15" name="Inhaltsplatzhalter 1">
            <a:extLst>
              <a:ext uri="{FF2B5EF4-FFF2-40B4-BE49-F238E27FC236}">
                <a16:creationId xmlns:a16="http://schemas.microsoft.com/office/drawing/2014/main" id="{BB135A0B-17AA-44D2-A1ED-F57AD592C6D9}"/>
              </a:ext>
            </a:extLst>
          </p:cNvPr>
          <p:cNvSpPr txBox="1">
            <a:spLocks/>
          </p:cNvSpPr>
          <p:nvPr/>
        </p:nvSpPr>
        <p:spPr bwMode="black">
          <a:xfrm>
            <a:off x="1229990" y="3279779"/>
            <a:ext cx="5112000"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TLV support for BMP Route Monitoring and Peer Down Messages</a:t>
            </a:r>
            <a:br>
              <a:rPr lang="en-US" b="1" dirty="0"/>
            </a:br>
            <a:r>
              <a:rPr lang="en-US" sz="1200" dirty="0">
                <a:hlinkClick r:id="rId7"/>
              </a:rPr>
              <a:t>https://tools.ietf.org/html/draft-ietf-grow-bmp-tlv</a:t>
            </a:r>
            <a:endParaRPr lang="en-US" sz="1200" dirty="0"/>
          </a:p>
          <a:p>
            <a:pPr lvl="1"/>
            <a:endParaRPr lang="en-US" sz="1200" dirty="0"/>
          </a:p>
        </p:txBody>
      </p:sp>
    </p:spTree>
    <p:extLst>
      <p:ext uri="{BB962C8B-B14F-4D97-AF65-F5344CB8AC3E}">
        <p14:creationId xmlns:p14="http://schemas.microsoft.com/office/powerpoint/2010/main" val="5782940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8EE7777F-2068-4967-99F5-C7AAE9E07F7D}"/>
              </a:ext>
            </a:extLst>
          </p:cNvPr>
          <p:cNvSpPr>
            <a:spLocks noGrp="1"/>
          </p:cNvSpPr>
          <p:nvPr>
            <p:ph type="sldNum" sz="quarter" idx="12"/>
          </p:nvPr>
        </p:nvSpPr>
        <p:spPr/>
        <p:txBody>
          <a:bodyPr/>
          <a:lstStyle/>
          <a:p>
            <a:fld id="{8FF9B0DE-3FEB-4AA0-B465-B80EF7C1333D}" type="slidenum">
              <a:rPr lang="en-US" smtClean="0"/>
              <a:pPr/>
              <a:t>2</a:t>
            </a:fld>
            <a:endParaRPr lang="en-US"/>
          </a:p>
        </p:txBody>
      </p:sp>
      <p:sp>
        <p:nvSpPr>
          <p:cNvPr id="10" name="Title 7">
            <a:extLst>
              <a:ext uri="{FF2B5EF4-FFF2-40B4-BE49-F238E27FC236}">
                <a16:creationId xmlns:a16="http://schemas.microsoft.com/office/drawing/2014/main" id="{888076A8-E832-4482-81D7-F118AA3F585C}"/>
              </a:ext>
            </a:extLst>
          </p:cNvPr>
          <p:cNvSpPr txBox="1">
            <a:spLocks/>
          </p:cNvSpPr>
          <p:nvPr/>
        </p:nvSpPr>
        <p:spPr>
          <a:xfrm>
            <a:off x="1027998" y="332656"/>
            <a:ext cx="9603980" cy="720000"/>
          </a:xfrm>
          <a:prstGeom prst="rect">
            <a:avLst/>
          </a:prstGeom>
        </p:spPr>
        <p:txBody>
          <a:bodyPr/>
          <a:lst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a:lstStyle>
          <a:p>
            <a:r>
              <a:rPr lang="en-US" sz="2800" dirty="0"/>
              <a:t>Nationwide Network Outages everywhere</a:t>
            </a:r>
            <a:br>
              <a:rPr lang="en-US" dirty="0"/>
            </a:br>
            <a:r>
              <a:rPr lang="en-US" b="0" dirty="0">
                <a:solidFill>
                  <a:schemeClr val="bg1">
                    <a:lumMod val="65000"/>
                  </a:schemeClr>
                </a:solidFill>
              </a:rPr>
              <a:t>Increasing in impact and duration - hinting Network Visibility deficiencies </a:t>
            </a:r>
          </a:p>
        </p:txBody>
      </p:sp>
      <p:pic>
        <p:nvPicPr>
          <p:cNvPr id="6" name="Picture 5">
            <a:extLst>
              <a:ext uri="{FF2B5EF4-FFF2-40B4-BE49-F238E27FC236}">
                <a16:creationId xmlns:a16="http://schemas.microsoft.com/office/drawing/2014/main" id="{B8F4BEDA-9609-474A-8EBF-BE83590D751C}"/>
              </a:ext>
            </a:extLst>
          </p:cNvPr>
          <p:cNvPicPr>
            <a:picLocks noChangeAspect="1"/>
          </p:cNvPicPr>
          <p:nvPr/>
        </p:nvPicPr>
        <p:blipFill>
          <a:blip r:embed="rId3"/>
          <a:stretch>
            <a:fillRect/>
          </a:stretch>
        </p:blipFill>
        <p:spPr>
          <a:xfrm>
            <a:off x="411654" y="1423418"/>
            <a:ext cx="2645012" cy="2260338"/>
          </a:xfrm>
          <a:prstGeom prst="rect">
            <a:avLst/>
          </a:prstGeom>
          <a:effectLst>
            <a:outerShdw blurRad="50800" dist="38100" dir="2700000" algn="tl" rotWithShape="0">
              <a:prstClr val="black">
                <a:alpha val="40000"/>
              </a:prstClr>
            </a:outerShdw>
            <a:softEdge rad="31750"/>
          </a:effectLst>
        </p:spPr>
      </p:pic>
      <p:pic>
        <p:nvPicPr>
          <p:cNvPr id="7" name="Picture 6">
            <a:extLst>
              <a:ext uri="{FF2B5EF4-FFF2-40B4-BE49-F238E27FC236}">
                <a16:creationId xmlns:a16="http://schemas.microsoft.com/office/drawing/2014/main" id="{A438AC47-E081-4AD1-9DA1-4A085B6D2781}"/>
              </a:ext>
            </a:extLst>
          </p:cNvPr>
          <p:cNvPicPr>
            <a:picLocks noChangeAspect="1"/>
          </p:cNvPicPr>
          <p:nvPr/>
        </p:nvPicPr>
        <p:blipFill>
          <a:blip r:embed="rId4"/>
          <a:stretch>
            <a:fillRect/>
          </a:stretch>
        </p:blipFill>
        <p:spPr>
          <a:xfrm>
            <a:off x="6278586" y="1360413"/>
            <a:ext cx="2856750" cy="2814562"/>
          </a:xfrm>
          <a:prstGeom prst="rect">
            <a:avLst/>
          </a:prstGeom>
          <a:effectLst>
            <a:outerShdw blurRad="50800" dist="38100" dir="2700000" algn="tl" rotWithShape="0">
              <a:prstClr val="black">
                <a:alpha val="40000"/>
              </a:prstClr>
            </a:outerShdw>
            <a:softEdge rad="31750"/>
          </a:effectLst>
        </p:spPr>
      </p:pic>
      <p:pic>
        <p:nvPicPr>
          <p:cNvPr id="9" name="Picture 8">
            <a:extLst>
              <a:ext uri="{FF2B5EF4-FFF2-40B4-BE49-F238E27FC236}">
                <a16:creationId xmlns:a16="http://schemas.microsoft.com/office/drawing/2014/main" id="{492B0E26-807A-425C-BA36-10628AAA4D5E}"/>
              </a:ext>
            </a:extLst>
          </p:cNvPr>
          <p:cNvPicPr>
            <a:picLocks noChangeAspect="1"/>
          </p:cNvPicPr>
          <p:nvPr/>
        </p:nvPicPr>
        <p:blipFill>
          <a:blip r:embed="rId5"/>
          <a:stretch>
            <a:fillRect/>
          </a:stretch>
        </p:blipFill>
        <p:spPr>
          <a:xfrm>
            <a:off x="3368133" y="1539749"/>
            <a:ext cx="2668327" cy="2455891"/>
          </a:xfrm>
          <a:prstGeom prst="rect">
            <a:avLst/>
          </a:prstGeom>
          <a:effectLst>
            <a:outerShdw blurRad="50800" dist="38100" dir="2700000" algn="tl" rotWithShape="0">
              <a:prstClr val="black">
                <a:alpha val="40000"/>
              </a:prstClr>
            </a:outerShdw>
            <a:softEdge rad="31750"/>
          </a:effectLst>
        </p:spPr>
      </p:pic>
      <p:pic>
        <p:nvPicPr>
          <p:cNvPr id="11" name="Picture 10">
            <a:extLst>
              <a:ext uri="{FF2B5EF4-FFF2-40B4-BE49-F238E27FC236}">
                <a16:creationId xmlns:a16="http://schemas.microsoft.com/office/drawing/2014/main" id="{2E0435BA-D7F9-43A2-8427-E109B1E46594}"/>
              </a:ext>
            </a:extLst>
          </p:cNvPr>
          <p:cNvPicPr>
            <a:picLocks noChangeAspect="1"/>
          </p:cNvPicPr>
          <p:nvPr/>
        </p:nvPicPr>
        <p:blipFill>
          <a:blip r:embed="rId6"/>
          <a:stretch>
            <a:fillRect/>
          </a:stretch>
        </p:blipFill>
        <p:spPr>
          <a:xfrm>
            <a:off x="6918631" y="4259676"/>
            <a:ext cx="2405588" cy="2496222"/>
          </a:xfrm>
          <a:prstGeom prst="rect">
            <a:avLst/>
          </a:prstGeom>
          <a:effectLst>
            <a:outerShdw blurRad="50800" dist="38100" dir="2700000" algn="tl" rotWithShape="0">
              <a:prstClr val="black">
                <a:alpha val="40000"/>
              </a:prstClr>
            </a:outerShdw>
            <a:softEdge rad="31750"/>
          </a:effectLst>
        </p:spPr>
      </p:pic>
      <p:pic>
        <p:nvPicPr>
          <p:cNvPr id="3" name="Picture 2">
            <a:extLst>
              <a:ext uri="{FF2B5EF4-FFF2-40B4-BE49-F238E27FC236}">
                <a16:creationId xmlns:a16="http://schemas.microsoft.com/office/drawing/2014/main" id="{D7807C86-4C8A-4F3A-ACA6-D8441450D55C}"/>
              </a:ext>
            </a:extLst>
          </p:cNvPr>
          <p:cNvPicPr>
            <a:picLocks noChangeAspect="1"/>
          </p:cNvPicPr>
          <p:nvPr/>
        </p:nvPicPr>
        <p:blipFill>
          <a:blip r:embed="rId7"/>
          <a:stretch>
            <a:fillRect/>
          </a:stretch>
        </p:blipFill>
        <p:spPr>
          <a:xfrm>
            <a:off x="684206" y="3770504"/>
            <a:ext cx="2571990" cy="2986827"/>
          </a:xfrm>
          <a:prstGeom prst="rect">
            <a:avLst/>
          </a:prstGeom>
          <a:effectLst>
            <a:outerShdw blurRad="50800" dist="38100" dir="2700000" algn="tl" rotWithShape="0">
              <a:prstClr val="black">
                <a:alpha val="40000"/>
              </a:prstClr>
            </a:outerShdw>
            <a:softEdge rad="31750"/>
          </a:effectLst>
        </p:spPr>
      </p:pic>
      <p:pic>
        <p:nvPicPr>
          <p:cNvPr id="8" name="Picture 7">
            <a:extLst>
              <a:ext uri="{FF2B5EF4-FFF2-40B4-BE49-F238E27FC236}">
                <a16:creationId xmlns:a16="http://schemas.microsoft.com/office/drawing/2014/main" id="{5356AA7C-D99A-4F4E-B017-270754C83051}"/>
              </a:ext>
            </a:extLst>
          </p:cNvPr>
          <p:cNvPicPr>
            <a:picLocks noChangeAspect="1"/>
          </p:cNvPicPr>
          <p:nvPr/>
        </p:nvPicPr>
        <p:blipFill>
          <a:blip r:embed="rId8"/>
          <a:stretch>
            <a:fillRect/>
          </a:stretch>
        </p:blipFill>
        <p:spPr>
          <a:xfrm>
            <a:off x="3368133" y="4259676"/>
            <a:ext cx="3326487" cy="2013660"/>
          </a:xfrm>
          <a:prstGeom prst="rect">
            <a:avLst/>
          </a:prstGeom>
        </p:spPr>
      </p:pic>
      <p:pic>
        <p:nvPicPr>
          <p:cNvPr id="4" name="Picture 3">
            <a:extLst>
              <a:ext uri="{FF2B5EF4-FFF2-40B4-BE49-F238E27FC236}">
                <a16:creationId xmlns:a16="http://schemas.microsoft.com/office/drawing/2014/main" id="{5FC46D57-0537-B8F3-A017-E62EE350B365}"/>
              </a:ext>
            </a:extLst>
          </p:cNvPr>
          <p:cNvPicPr>
            <a:picLocks noChangeAspect="1"/>
          </p:cNvPicPr>
          <p:nvPr/>
        </p:nvPicPr>
        <p:blipFill>
          <a:blip r:embed="rId9"/>
          <a:stretch>
            <a:fillRect/>
          </a:stretch>
        </p:blipFill>
        <p:spPr>
          <a:xfrm>
            <a:off x="9258380" y="1539748"/>
            <a:ext cx="2721020" cy="2496221"/>
          </a:xfrm>
          <a:prstGeom prst="rect">
            <a:avLst/>
          </a:prstGeom>
        </p:spPr>
      </p:pic>
    </p:spTree>
    <p:extLst>
      <p:ext uri="{BB962C8B-B14F-4D97-AF65-F5344CB8AC3E}">
        <p14:creationId xmlns:p14="http://schemas.microsoft.com/office/powerpoint/2010/main" val="11124731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17A6DA17-156A-4F5E-B81C-D64FF1E7B8CC}"/>
              </a:ext>
            </a:extLst>
          </p:cNvPr>
          <p:cNvSpPr>
            <a:spLocks noGrp="1"/>
          </p:cNvSpPr>
          <p:nvPr>
            <p:ph type="sldNum" sz="quarter" idx="12"/>
          </p:nvPr>
        </p:nvSpPr>
        <p:spPr bwMode="gray"/>
        <p:txBody>
          <a:bodyPr/>
          <a:lstStyle/>
          <a:p>
            <a:fld id="{8FF9B0DE-3FEB-4AA0-B465-B80EF7C1333D}" type="slidenum">
              <a:rPr lang="de-CH" smtClean="0"/>
              <a:pPr/>
              <a:t>3</a:t>
            </a:fld>
            <a:endParaRPr lang="de-CH" dirty="0"/>
          </a:p>
        </p:txBody>
      </p:sp>
      <p:sp>
        <p:nvSpPr>
          <p:cNvPr id="9" name="Title 4">
            <a:extLst>
              <a:ext uri="{FF2B5EF4-FFF2-40B4-BE49-F238E27FC236}">
                <a16:creationId xmlns:a16="http://schemas.microsoft.com/office/drawing/2014/main" id="{8D11295F-2BFA-40E0-8C05-BFE2BB9FEF44}"/>
              </a:ext>
            </a:extLst>
          </p:cNvPr>
          <p:cNvSpPr>
            <a:spLocks noGrp="1"/>
          </p:cNvSpPr>
          <p:nvPr>
            <p:ph type="title"/>
          </p:nvPr>
        </p:nvSpPr>
        <p:spPr bwMode="gray">
          <a:xfrm>
            <a:off x="760155" y="1409737"/>
            <a:ext cx="10887639" cy="2755325"/>
          </a:xfrm>
        </p:spPr>
        <p:txBody>
          <a:bodyPr/>
          <a:lstStyle/>
          <a:p>
            <a:pPr algn="ctr">
              <a:lnSpc>
                <a:spcPct val="150000"/>
              </a:lnSpc>
              <a:spcBef>
                <a:spcPts val="600"/>
              </a:spcBef>
              <a:spcAft>
                <a:spcPts val="600"/>
              </a:spcAft>
            </a:pPr>
            <a:r>
              <a:rPr lang="en-US" sz="3600" dirty="0"/>
              <a:t>“ </a:t>
            </a:r>
            <a:r>
              <a:rPr lang="en-US" sz="3600" i="1" dirty="0"/>
              <a:t>Swisscom would not have chosen SRv6 </a:t>
            </a:r>
            <a:br>
              <a:rPr lang="en-US" sz="3600" i="1" dirty="0"/>
            </a:br>
            <a:r>
              <a:rPr lang="en-US" sz="3600" i="1" dirty="0"/>
              <a:t>if data plane visibility wasn't implemented </a:t>
            </a:r>
            <a:br>
              <a:rPr lang="en-US" sz="3600" i="1" dirty="0"/>
            </a:br>
            <a:r>
              <a:rPr lang="en-US" sz="3600" i="1" dirty="0"/>
              <a:t>we would not deploy in production </a:t>
            </a:r>
            <a:r>
              <a:rPr lang="en-US" sz="3600" dirty="0"/>
              <a:t>“</a:t>
            </a:r>
            <a:endParaRPr lang="de-CH" sz="3600" dirty="0"/>
          </a:p>
        </p:txBody>
      </p:sp>
      <p:grpSp>
        <p:nvGrpSpPr>
          <p:cNvPr id="10" name="Group 9">
            <a:extLst>
              <a:ext uri="{FF2B5EF4-FFF2-40B4-BE49-F238E27FC236}">
                <a16:creationId xmlns:a16="http://schemas.microsoft.com/office/drawing/2014/main" id="{47209106-683C-4E8E-9C26-ED12DED9E902}"/>
              </a:ext>
            </a:extLst>
          </p:cNvPr>
          <p:cNvGrpSpPr/>
          <p:nvPr/>
        </p:nvGrpSpPr>
        <p:grpSpPr>
          <a:xfrm>
            <a:off x="4750838" y="5180742"/>
            <a:ext cx="2690324" cy="724949"/>
            <a:chOff x="8955783" y="324085"/>
            <a:chExt cx="2690324" cy="724949"/>
          </a:xfrm>
        </p:grpSpPr>
        <p:grpSp>
          <p:nvGrpSpPr>
            <p:cNvPr id="11" name="Gruppieren 168">
              <a:extLst>
                <a:ext uri="{FF2B5EF4-FFF2-40B4-BE49-F238E27FC236}">
                  <a16:creationId xmlns:a16="http://schemas.microsoft.com/office/drawing/2014/main" id="{14DC1D05-0086-4C2B-8E18-ABD9BF1D37D8}"/>
                </a:ext>
              </a:extLst>
            </p:cNvPr>
            <p:cNvGrpSpPr/>
            <p:nvPr/>
          </p:nvGrpSpPr>
          <p:grpSpPr>
            <a:xfrm>
              <a:off x="8955783" y="324085"/>
              <a:ext cx="702670" cy="712587"/>
              <a:chOff x="10366017" y="30973"/>
              <a:chExt cx="2246316" cy="2278019"/>
            </a:xfrm>
          </p:grpSpPr>
          <p:grpSp>
            <p:nvGrpSpPr>
              <p:cNvPr id="86" name="Grafik 5">
                <a:extLst>
                  <a:ext uri="{FF2B5EF4-FFF2-40B4-BE49-F238E27FC236}">
                    <a16:creationId xmlns:a16="http://schemas.microsoft.com/office/drawing/2014/main" id="{B82DDF56-43C4-4D1B-8671-9D28D6A7C88F}"/>
                  </a:ext>
                </a:extLst>
              </p:cNvPr>
              <p:cNvGrpSpPr/>
              <p:nvPr/>
            </p:nvGrpSpPr>
            <p:grpSpPr>
              <a:xfrm>
                <a:off x="10366017" y="30973"/>
                <a:ext cx="2246316" cy="2278019"/>
                <a:chOff x="10396141" y="22604"/>
                <a:chExt cx="2246316" cy="2278019"/>
              </a:xfrm>
            </p:grpSpPr>
            <p:grpSp>
              <p:nvGrpSpPr>
                <p:cNvPr id="88" name="Grafik 5">
                  <a:extLst>
                    <a:ext uri="{FF2B5EF4-FFF2-40B4-BE49-F238E27FC236}">
                      <a16:creationId xmlns:a16="http://schemas.microsoft.com/office/drawing/2014/main" id="{5BE20CCA-C28C-41E2-86CE-5B23E5F93D3D}"/>
                    </a:ext>
                  </a:extLst>
                </p:cNvPr>
                <p:cNvGrpSpPr/>
                <p:nvPr/>
              </p:nvGrpSpPr>
              <p:grpSpPr>
                <a:xfrm>
                  <a:off x="10396141" y="22604"/>
                  <a:ext cx="2246316" cy="2278019"/>
                  <a:chOff x="10396141" y="22604"/>
                  <a:chExt cx="2246316" cy="2278019"/>
                </a:xfrm>
              </p:grpSpPr>
              <p:sp>
                <p:nvSpPr>
                  <p:cNvPr id="90" name="Freihandform: Form 173">
                    <a:extLst>
                      <a:ext uri="{FF2B5EF4-FFF2-40B4-BE49-F238E27FC236}">
                        <a16:creationId xmlns:a16="http://schemas.microsoft.com/office/drawing/2014/main" id="{7C9C6FB6-AEB5-4CA9-8EE9-FE7C2E144E6F}"/>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91" name="Freihandform: Form 174">
                    <a:extLst>
                      <a:ext uri="{FF2B5EF4-FFF2-40B4-BE49-F238E27FC236}">
                        <a16:creationId xmlns:a16="http://schemas.microsoft.com/office/drawing/2014/main" id="{A5A1DFB5-3D1A-4C63-9F47-2944EDE19907}"/>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92" name="Freihandform: Form 175">
                    <a:extLst>
                      <a:ext uri="{FF2B5EF4-FFF2-40B4-BE49-F238E27FC236}">
                        <a16:creationId xmlns:a16="http://schemas.microsoft.com/office/drawing/2014/main" id="{557FAEFA-0C63-4F99-BA0D-98E75A5058DB}"/>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93" name="Freihandform: Form 176">
                    <a:extLst>
                      <a:ext uri="{FF2B5EF4-FFF2-40B4-BE49-F238E27FC236}">
                        <a16:creationId xmlns:a16="http://schemas.microsoft.com/office/drawing/2014/main" id="{21934B1C-A5ED-41DD-B537-A8D527E77AA0}"/>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94" name="Freihandform: Form 177">
                    <a:extLst>
                      <a:ext uri="{FF2B5EF4-FFF2-40B4-BE49-F238E27FC236}">
                        <a16:creationId xmlns:a16="http://schemas.microsoft.com/office/drawing/2014/main" id="{2F58EB60-38A3-4FC5-894A-AE9D63A31CD9}"/>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95" name="Freihandform: Form 178">
                    <a:extLst>
                      <a:ext uri="{FF2B5EF4-FFF2-40B4-BE49-F238E27FC236}">
                        <a16:creationId xmlns:a16="http://schemas.microsoft.com/office/drawing/2014/main" id="{DE4D3DD3-4793-4592-BF14-09DD99844403}"/>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96" name="Freihandform: Form 179">
                    <a:extLst>
                      <a:ext uri="{FF2B5EF4-FFF2-40B4-BE49-F238E27FC236}">
                        <a16:creationId xmlns:a16="http://schemas.microsoft.com/office/drawing/2014/main" id="{BE44CA04-CCA3-43BC-8DDA-C9EC8A40560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97" name="Freihandform: Form 180">
                    <a:extLst>
                      <a:ext uri="{FF2B5EF4-FFF2-40B4-BE49-F238E27FC236}">
                        <a16:creationId xmlns:a16="http://schemas.microsoft.com/office/drawing/2014/main" id="{DB57E6D9-571E-4183-BB12-6B9FE137BFB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98" name="Freihandform: Form 181">
                    <a:extLst>
                      <a:ext uri="{FF2B5EF4-FFF2-40B4-BE49-F238E27FC236}">
                        <a16:creationId xmlns:a16="http://schemas.microsoft.com/office/drawing/2014/main" id="{62571F96-E4BC-41D1-A06A-93B1CC9B232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99" name="Freihandform: Form 182">
                    <a:extLst>
                      <a:ext uri="{FF2B5EF4-FFF2-40B4-BE49-F238E27FC236}">
                        <a16:creationId xmlns:a16="http://schemas.microsoft.com/office/drawing/2014/main" id="{6C36039F-A527-4390-A38A-89888EDEE14E}"/>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100" name="Freihandform: Form 183">
                    <a:extLst>
                      <a:ext uri="{FF2B5EF4-FFF2-40B4-BE49-F238E27FC236}">
                        <a16:creationId xmlns:a16="http://schemas.microsoft.com/office/drawing/2014/main" id="{5600DCFD-5CBD-4BC6-AE8F-2EA19A2BAB81}"/>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101" name="Freihandform: Form 184">
                    <a:extLst>
                      <a:ext uri="{FF2B5EF4-FFF2-40B4-BE49-F238E27FC236}">
                        <a16:creationId xmlns:a16="http://schemas.microsoft.com/office/drawing/2014/main" id="{844DE934-D438-4F0E-AFDE-1D39B8080785}"/>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102" name="Freihandform: Form 185">
                    <a:extLst>
                      <a:ext uri="{FF2B5EF4-FFF2-40B4-BE49-F238E27FC236}">
                        <a16:creationId xmlns:a16="http://schemas.microsoft.com/office/drawing/2014/main" id="{2DED94BC-8EDF-4385-ABFC-D226445C9C2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103" name="Freihandform: Form 186">
                    <a:extLst>
                      <a:ext uri="{FF2B5EF4-FFF2-40B4-BE49-F238E27FC236}">
                        <a16:creationId xmlns:a16="http://schemas.microsoft.com/office/drawing/2014/main" id="{64F3488A-BE3F-4D1E-8402-8269CC7BB134}"/>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104" name="Grafik 5">
                    <a:extLst>
                      <a:ext uri="{FF2B5EF4-FFF2-40B4-BE49-F238E27FC236}">
                        <a16:creationId xmlns:a16="http://schemas.microsoft.com/office/drawing/2014/main" id="{42D79C2B-89EB-4AC1-ADA8-56409D8A8A70}"/>
                      </a:ext>
                    </a:extLst>
                  </p:cNvPr>
                  <p:cNvGrpSpPr/>
                  <p:nvPr/>
                </p:nvGrpSpPr>
                <p:grpSpPr>
                  <a:xfrm>
                    <a:off x="10468669" y="91979"/>
                    <a:ext cx="2134946" cy="2159439"/>
                    <a:chOff x="10468669" y="91979"/>
                    <a:chExt cx="2134946" cy="2159439"/>
                  </a:xfrm>
                  <a:solidFill>
                    <a:srgbClr val="FFFFFF"/>
                  </a:solidFill>
                </p:grpSpPr>
                <p:sp>
                  <p:nvSpPr>
                    <p:cNvPr id="105" name="Freihandform: Form 188">
                      <a:extLst>
                        <a:ext uri="{FF2B5EF4-FFF2-40B4-BE49-F238E27FC236}">
                          <a16:creationId xmlns:a16="http://schemas.microsoft.com/office/drawing/2014/main" id="{08756933-ED05-4D77-A661-3E8B07A5B128}"/>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106" name="Freihandform: Form 189">
                      <a:extLst>
                        <a:ext uri="{FF2B5EF4-FFF2-40B4-BE49-F238E27FC236}">
                          <a16:creationId xmlns:a16="http://schemas.microsoft.com/office/drawing/2014/main" id="{529517DB-6D97-4D7C-842F-6817FF8516D0}"/>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107" name="Freihandform: Form 190">
                      <a:extLst>
                        <a:ext uri="{FF2B5EF4-FFF2-40B4-BE49-F238E27FC236}">
                          <a16:creationId xmlns:a16="http://schemas.microsoft.com/office/drawing/2014/main" id="{58853C34-E1E3-4216-BEDB-2DB5C90A5576}"/>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108" name="Freihandform: Form 191">
                      <a:extLst>
                        <a:ext uri="{FF2B5EF4-FFF2-40B4-BE49-F238E27FC236}">
                          <a16:creationId xmlns:a16="http://schemas.microsoft.com/office/drawing/2014/main" id="{51C90DF5-0D64-4C06-A45A-06407B68F051}"/>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109" name="Freihandform: Form 192">
                      <a:extLst>
                        <a:ext uri="{FF2B5EF4-FFF2-40B4-BE49-F238E27FC236}">
                          <a16:creationId xmlns:a16="http://schemas.microsoft.com/office/drawing/2014/main" id="{5E96680D-69BC-4EEA-A7E2-4B58F29BA5BE}"/>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110" name="Freihandform: Form 193">
                      <a:extLst>
                        <a:ext uri="{FF2B5EF4-FFF2-40B4-BE49-F238E27FC236}">
                          <a16:creationId xmlns:a16="http://schemas.microsoft.com/office/drawing/2014/main" id="{333C9023-6C78-4727-9793-E72F8DAF01EF}"/>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111" name="Freihandform: Form 194">
                      <a:extLst>
                        <a:ext uri="{FF2B5EF4-FFF2-40B4-BE49-F238E27FC236}">
                          <a16:creationId xmlns:a16="http://schemas.microsoft.com/office/drawing/2014/main" id="{BB7CCD03-3A5F-42F7-B26F-3B4324EDB213}"/>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112" name="Freihandform: Form 195">
                      <a:extLst>
                        <a:ext uri="{FF2B5EF4-FFF2-40B4-BE49-F238E27FC236}">
                          <a16:creationId xmlns:a16="http://schemas.microsoft.com/office/drawing/2014/main" id="{14E7A1CD-8C2E-4299-85AD-89FC93C40FAD}"/>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113" name="Freihandform: Form 196">
                      <a:extLst>
                        <a:ext uri="{FF2B5EF4-FFF2-40B4-BE49-F238E27FC236}">
                          <a16:creationId xmlns:a16="http://schemas.microsoft.com/office/drawing/2014/main" id="{853F5270-C796-4F07-91AD-FEBEE80E3C1B}"/>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114" name="Freihandform: Form 197">
                      <a:extLst>
                        <a:ext uri="{FF2B5EF4-FFF2-40B4-BE49-F238E27FC236}">
                          <a16:creationId xmlns:a16="http://schemas.microsoft.com/office/drawing/2014/main" id="{6E308D66-821D-4ED1-8473-F5FF95874A74}"/>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115" name="Freihandform: Form 198">
                      <a:extLst>
                        <a:ext uri="{FF2B5EF4-FFF2-40B4-BE49-F238E27FC236}">
                          <a16:creationId xmlns:a16="http://schemas.microsoft.com/office/drawing/2014/main" id="{2F06BB4A-E72F-4FBD-96E2-6B172ECA03C1}"/>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116" name="Freihandform: Form 199">
                      <a:extLst>
                        <a:ext uri="{FF2B5EF4-FFF2-40B4-BE49-F238E27FC236}">
                          <a16:creationId xmlns:a16="http://schemas.microsoft.com/office/drawing/2014/main" id="{B1A0EA27-121B-433E-A4CF-AAD69268115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117" name="Freihandform: Form 200">
                      <a:extLst>
                        <a:ext uri="{FF2B5EF4-FFF2-40B4-BE49-F238E27FC236}">
                          <a16:creationId xmlns:a16="http://schemas.microsoft.com/office/drawing/2014/main" id="{EDD46178-1DF0-4621-81BB-0F49C6E87808}"/>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118" name="Freihandform: Form 201">
                      <a:extLst>
                        <a:ext uri="{FF2B5EF4-FFF2-40B4-BE49-F238E27FC236}">
                          <a16:creationId xmlns:a16="http://schemas.microsoft.com/office/drawing/2014/main" id="{31074599-4291-4DE4-AC9D-D74EA59A4AC0}"/>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89" name="Freihandform: Form 172">
                  <a:extLst>
                    <a:ext uri="{FF2B5EF4-FFF2-40B4-BE49-F238E27FC236}">
                      <a16:creationId xmlns:a16="http://schemas.microsoft.com/office/drawing/2014/main" id="{8D56A721-FA85-4A91-82D1-71AB6E6B2F54}"/>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87" name="Ellipse 170">
                <a:extLst>
                  <a:ext uri="{FF2B5EF4-FFF2-40B4-BE49-F238E27FC236}">
                    <a16:creationId xmlns:a16="http://schemas.microsoft.com/office/drawing/2014/main" id="{E6F5F2EE-EE39-42B5-AA16-05C1710C54B7}"/>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2" name="Gruppieren 168">
              <a:extLst>
                <a:ext uri="{FF2B5EF4-FFF2-40B4-BE49-F238E27FC236}">
                  <a16:creationId xmlns:a16="http://schemas.microsoft.com/office/drawing/2014/main" id="{2D91C88C-0FC8-4E17-90E1-EA65903F4A28}"/>
                </a:ext>
              </a:extLst>
            </p:cNvPr>
            <p:cNvGrpSpPr/>
            <p:nvPr/>
          </p:nvGrpSpPr>
          <p:grpSpPr>
            <a:xfrm>
              <a:off x="9935468" y="336447"/>
              <a:ext cx="702670" cy="712587"/>
              <a:chOff x="10366017" y="30973"/>
              <a:chExt cx="2246316" cy="2278019"/>
            </a:xfrm>
          </p:grpSpPr>
          <p:grpSp>
            <p:nvGrpSpPr>
              <p:cNvPr id="53" name="Grafik 5">
                <a:extLst>
                  <a:ext uri="{FF2B5EF4-FFF2-40B4-BE49-F238E27FC236}">
                    <a16:creationId xmlns:a16="http://schemas.microsoft.com/office/drawing/2014/main" id="{3526A497-56FC-4DB3-81D4-C0F34FE9E373}"/>
                  </a:ext>
                </a:extLst>
              </p:cNvPr>
              <p:cNvGrpSpPr/>
              <p:nvPr/>
            </p:nvGrpSpPr>
            <p:grpSpPr>
              <a:xfrm>
                <a:off x="10366017" y="30973"/>
                <a:ext cx="2246316" cy="2278019"/>
                <a:chOff x="10396141" y="22604"/>
                <a:chExt cx="2246316" cy="2278019"/>
              </a:xfrm>
            </p:grpSpPr>
            <p:grpSp>
              <p:nvGrpSpPr>
                <p:cNvPr id="55" name="Grafik 5">
                  <a:extLst>
                    <a:ext uri="{FF2B5EF4-FFF2-40B4-BE49-F238E27FC236}">
                      <a16:creationId xmlns:a16="http://schemas.microsoft.com/office/drawing/2014/main" id="{8845A494-1235-403C-AE8D-CCF7C3574357}"/>
                    </a:ext>
                  </a:extLst>
                </p:cNvPr>
                <p:cNvGrpSpPr/>
                <p:nvPr/>
              </p:nvGrpSpPr>
              <p:grpSpPr>
                <a:xfrm>
                  <a:off x="10396141" y="22604"/>
                  <a:ext cx="2246316" cy="2278019"/>
                  <a:chOff x="10396141" y="22604"/>
                  <a:chExt cx="2246316" cy="2278019"/>
                </a:xfrm>
              </p:grpSpPr>
              <p:sp>
                <p:nvSpPr>
                  <p:cNvPr id="57" name="Freihandform: Form 173">
                    <a:extLst>
                      <a:ext uri="{FF2B5EF4-FFF2-40B4-BE49-F238E27FC236}">
                        <a16:creationId xmlns:a16="http://schemas.microsoft.com/office/drawing/2014/main" id="{69A78EF7-1C34-4160-90B0-123CFD15D71E}"/>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58" name="Freihandform: Form 174">
                    <a:extLst>
                      <a:ext uri="{FF2B5EF4-FFF2-40B4-BE49-F238E27FC236}">
                        <a16:creationId xmlns:a16="http://schemas.microsoft.com/office/drawing/2014/main" id="{0E963FA4-63B3-4DFA-BC7D-66EA32F8C4C3}"/>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59" name="Freihandform: Form 175">
                    <a:extLst>
                      <a:ext uri="{FF2B5EF4-FFF2-40B4-BE49-F238E27FC236}">
                        <a16:creationId xmlns:a16="http://schemas.microsoft.com/office/drawing/2014/main" id="{B5E55859-FECB-41B4-A563-20535E324570}"/>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60" name="Freihandform: Form 176">
                    <a:extLst>
                      <a:ext uri="{FF2B5EF4-FFF2-40B4-BE49-F238E27FC236}">
                        <a16:creationId xmlns:a16="http://schemas.microsoft.com/office/drawing/2014/main" id="{0ACC9DC6-5265-4A57-A89C-AA08FC9122B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61" name="Freihandform: Form 177">
                    <a:extLst>
                      <a:ext uri="{FF2B5EF4-FFF2-40B4-BE49-F238E27FC236}">
                        <a16:creationId xmlns:a16="http://schemas.microsoft.com/office/drawing/2014/main" id="{34414CF9-C9FE-4635-9761-CFFCE9226390}"/>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62" name="Freihandform: Form 178">
                    <a:extLst>
                      <a:ext uri="{FF2B5EF4-FFF2-40B4-BE49-F238E27FC236}">
                        <a16:creationId xmlns:a16="http://schemas.microsoft.com/office/drawing/2014/main" id="{67FDC17C-D326-4202-BCF6-DC72867AF97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63" name="Freihandform: Form 179">
                    <a:extLst>
                      <a:ext uri="{FF2B5EF4-FFF2-40B4-BE49-F238E27FC236}">
                        <a16:creationId xmlns:a16="http://schemas.microsoft.com/office/drawing/2014/main" id="{87EE647A-CC59-4D1D-BB28-12B61A2081F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64" name="Freihandform: Form 180">
                    <a:extLst>
                      <a:ext uri="{FF2B5EF4-FFF2-40B4-BE49-F238E27FC236}">
                        <a16:creationId xmlns:a16="http://schemas.microsoft.com/office/drawing/2014/main" id="{6C0701D4-E3CB-4142-8941-B65C767FBA27}"/>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65" name="Freihandform: Form 181">
                    <a:extLst>
                      <a:ext uri="{FF2B5EF4-FFF2-40B4-BE49-F238E27FC236}">
                        <a16:creationId xmlns:a16="http://schemas.microsoft.com/office/drawing/2014/main" id="{7C856744-E57C-4608-8C3A-979D974D07F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66" name="Freihandform: Form 182">
                    <a:extLst>
                      <a:ext uri="{FF2B5EF4-FFF2-40B4-BE49-F238E27FC236}">
                        <a16:creationId xmlns:a16="http://schemas.microsoft.com/office/drawing/2014/main" id="{5AB67C3E-1337-4AAC-9067-FB0CEACBE81B}"/>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67" name="Freihandform: Form 183">
                    <a:extLst>
                      <a:ext uri="{FF2B5EF4-FFF2-40B4-BE49-F238E27FC236}">
                        <a16:creationId xmlns:a16="http://schemas.microsoft.com/office/drawing/2014/main" id="{66FDD839-98DA-4346-BE6D-F2BCBA048F28}"/>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68" name="Freihandform: Form 184">
                    <a:extLst>
                      <a:ext uri="{FF2B5EF4-FFF2-40B4-BE49-F238E27FC236}">
                        <a16:creationId xmlns:a16="http://schemas.microsoft.com/office/drawing/2014/main" id="{2C3B9209-900B-462D-AB80-24BCE7D2275E}"/>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69" name="Freihandform: Form 185">
                    <a:extLst>
                      <a:ext uri="{FF2B5EF4-FFF2-40B4-BE49-F238E27FC236}">
                        <a16:creationId xmlns:a16="http://schemas.microsoft.com/office/drawing/2014/main" id="{D1129D54-0A06-4A6E-BD76-1D7A56946D9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70" name="Freihandform: Form 186">
                    <a:extLst>
                      <a:ext uri="{FF2B5EF4-FFF2-40B4-BE49-F238E27FC236}">
                        <a16:creationId xmlns:a16="http://schemas.microsoft.com/office/drawing/2014/main" id="{FB8A4BF9-95D0-4C0D-A7BB-97BE7C845D2B}"/>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71" name="Grafik 5">
                    <a:extLst>
                      <a:ext uri="{FF2B5EF4-FFF2-40B4-BE49-F238E27FC236}">
                        <a16:creationId xmlns:a16="http://schemas.microsoft.com/office/drawing/2014/main" id="{EB5D59D4-788A-48C3-8211-570A63E967BF}"/>
                      </a:ext>
                    </a:extLst>
                  </p:cNvPr>
                  <p:cNvGrpSpPr/>
                  <p:nvPr/>
                </p:nvGrpSpPr>
                <p:grpSpPr>
                  <a:xfrm>
                    <a:off x="10468669" y="91979"/>
                    <a:ext cx="2134946" cy="2159439"/>
                    <a:chOff x="10468669" y="91979"/>
                    <a:chExt cx="2134946" cy="2159439"/>
                  </a:xfrm>
                  <a:solidFill>
                    <a:srgbClr val="FFFFFF"/>
                  </a:solidFill>
                </p:grpSpPr>
                <p:sp>
                  <p:nvSpPr>
                    <p:cNvPr id="72" name="Freihandform: Form 188">
                      <a:extLst>
                        <a:ext uri="{FF2B5EF4-FFF2-40B4-BE49-F238E27FC236}">
                          <a16:creationId xmlns:a16="http://schemas.microsoft.com/office/drawing/2014/main" id="{12FABE64-CE90-4249-90A1-3A97C12F14DA}"/>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73" name="Freihandform: Form 189">
                      <a:extLst>
                        <a:ext uri="{FF2B5EF4-FFF2-40B4-BE49-F238E27FC236}">
                          <a16:creationId xmlns:a16="http://schemas.microsoft.com/office/drawing/2014/main" id="{BF300DFE-EDB1-4659-BC29-C3014C17273F}"/>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74" name="Freihandform: Form 190">
                      <a:extLst>
                        <a:ext uri="{FF2B5EF4-FFF2-40B4-BE49-F238E27FC236}">
                          <a16:creationId xmlns:a16="http://schemas.microsoft.com/office/drawing/2014/main" id="{54CD7C24-96D7-42E5-925E-CEEB44B7D0B1}"/>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75" name="Freihandform: Form 191">
                      <a:extLst>
                        <a:ext uri="{FF2B5EF4-FFF2-40B4-BE49-F238E27FC236}">
                          <a16:creationId xmlns:a16="http://schemas.microsoft.com/office/drawing/2014/main" id="{DD4768E7-8059-4C27-BE21-677115EDA6CE}"/>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76" name="Freihandform: Form 192">
                      <a:extLst>
                        <a:ext uri="{FF2B5EF4-FFF2-40B4-BE49-F238E27FC236}">
                          <a16:creationId xmlns:a16="http://schemas.microsoft.com/office/drawing/2014/main" id="{F54DF6F8-8C4F-410B-A3D7-E73C7459B656}"/>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77" name="Freihandform: Form 193">
                      <a:extLst>
                        <a:ext uri="{FF2B5EF4-FFF2-40B4-BE49-F238E27FC236}">
                          <a16:creationId xmlns:a16="http://schemas.microsoft.com/office/drawing/2014/main" id="{13D28E75-67B9-4230-B47D-1015C745867C}"/>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78" name="Freihandform: Form 194">
                      <a:extLst>
                        <a:ext uri="{FF2B5EF4-FFF2-40B4-BE49-F238E27FC236}">
                          <a16:creationId xmlns:a16="http://schemas.microsoft.com/office/drawing/2014/main" id="{DD3EC4B1-3F24-4BCC-B941-168A97F5897A}"/>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79" name="Freihandform: Form 195">
                      <a:extLst>
                        <a:ext uri="{FF2B5EF4-FFF2-40B4-BE49-F238E27FC236}">
                          <a16:creationId xmlns:a16="http://schemas.microsoft.com/office/drawing/2014/main" id="{920A2C19-802C-485D-AA62-3E1C96B57398}"/>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80" name="Freihandform: Form 196">
                      <a:extLst>
                        <a:ext uri="{FF2B5EF4-FFF2-40B4-BE49-F238E27FC236}">
                          <a16:creationId xmlns:a16="http://schemas.microsoft.com/office/drawing/2014/main" id="{87C32F63-B097-4A07-B9AF-C8F2D847CF03}"/>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81" name="Freihandform: Form 197">
                      <a:extLst>
                        <a:ext uri="{FF2B5EF4-FFF2-40B4-BE49-F238E27FC236}">
                          <a16:creationId xmlns:a16="http://schemas.microsoft.com/office/drawing/2014/main" id="{132FD36F-0079-4A06-9A4A-E7B3C6D704AB}"/>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82" name="Freihandform: Form 198">
                      <a:extLst>
                        <a:ext uri="{FF2B5EF4-FFF2-40B4-BE49-F238E27FC236}">
                          <a16:creationId xmlns:a16="http://schemas.microsoft.com/office/drawing/2014/main" id="{62FCEABD-EE7C-4352-854D-0886BC63B9BD}"/>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83" name="Freihandform: Form 199">
                      <a:extLst>
                        <a:ext uri="{FF2B5EF4-FFF2-40B4-BE49-F238E27FC236}">
                          <a16:creationId xmlns:a16="http://schemas.microsoft.com/office/drawing/2014/main" id="{83A2A145-ED73-4AD8-BE52-6F1245C2D19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84" name="Freihandform: Form 200">
                      <a:extLst>
                        <a:ext uri="{FF2B5EF4-FFF2-40B4-BE49-F238E27FC236}">
                          <a16:creationId xmlns:a16="http://schemas.microsoft.com/office/drawing/2014/main" id="{605FE578-2136-45E8-ACBD-38874AE5520A}"/>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85" name="Freihandform: Form 201">
                      <a:extLst>
                        <a:ext uri="{FF2B5EF4-FFF2-40B4-BE49-F238E27FC236}">
                          <a16:creationId xmlns:a16="http://schemas.microsoft.com/office/drawing/2014/main" id="{3FC875BB-C179-46BF-AAF0-96A92963C01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56" name="Freihandform: Form 172">
                  <a:extLst>
                    <a:ext uri="{FF2B5EF4-FFF2-40B4-BE49-F238E27FC236}">
                      <a16:creationId xmlns:a16="http://schemas.microsoft.com/office/drawing/2014/main" id="{10D32005-EC8F-4863-84B4-FEBFFB7BFE7D}"/>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54" name="Ellipse 170">
                <a:extLst>
                  <a:ext uri="{FF2B5EF4-FFF2-40B4-BE49-F238E27FC236}">
                    <a16:creationId xmlns:a16="http://schemas.microsoft.com/office/drawing/2014/main" id="{D72486BD-3912-46A4-86DB-08614A5D2C56}"/>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3" name="Gruppieren 168">
              <a:extLst>
                <a:ext uri="{FF2B5EF4-FFF2-40B4-BE49-F238E27FC236}">
                  <a16:creationId xmlns:a16="http://schemas.microsoft.com/office/drawing/2014/main" id="{49FEF36E-D4C1-453A-89A3-09F892E5EA65}"/>
                </a:ext>
              </a:extLst>
            </p:cNvPr>
            <p:cNvGrpSpPr/>
            <p:nvPr/>
          </p:nvGrpSpPr>
          <p:grpSpPr>
            <a:xfrm>
              <a:off x="10943437" y="334624"/>
              <a:ext cx="702670" cy="712587"/>
              <a:chOff x="10366017" y="30973"/>
              <a:chExt cx="2246316" cy="2278019"/>
            </a:xfrm>
          </p:grpSpPr>
          <p:grpSp>
            <p:nvGrpSpPr>
              <p:cNvPr id="14" name="Grafik 5">
                <a:extLst>
                  <a:ext uri="{FF2B5EF4-FFF2-40B4-BE49-F238E27FC236}">
                    <a16:creationId xmlns:a16="http://schemas.microsoft.com/office/drawing/2014/main" id="{94196336-3D74-490E-BB94-01BF5A947506}"/>
                  </a:ext>
                </a:extLst>
              </p:cNvPr>
              <p:cNvGrpSpPr/>
              <p:nvPr/>
            </p:nvGrpSpPr>
            <p:grpSpPr>
              <a:xfrm>
                <a:off x="10366017" y="30973"/>
                <a:ext cx="2246316" cy="2278019"/>
                <a:chOff x="10396141" y="22604"/>
                <a:chExt cx="2246316" cy="2278019"/>
              </a:xfrm>
            </p:grpSpPr>
            <p:grpSp>
              <p:nvGrpSpPr>
                <p:cNvPr id="18" name="Grafik 5">
                  <a:extLst>
                    <a:ext uri="{FF2B5EF4-FFF2-40B4-BE49-F238E27FC236}">
                      <a16:creationId xmlns:a16="http://schemas.microsoft.com/office/drawing/2014/main" id="{2785D0C1-CDA2-4788-9DE4-35EE0A090704}"/>
                    </a:ext>
                  </a:extLst>
                </p:cNvPr>
                <p:cNvGrpSpPr/>
                <p:nvPr/>
              </p:nvGrpSpPr>
              <p:grpSpPr>
                <a:xfrm>
                  <a:off x="10396141" y="22604"/>
                  <a:ext cx="2246316" cy="2278019"/>
                  <a:chOff x="10396141" y="22604"/>
                  <a:chExt cx="2246316" cy="2278019"/>
                </a:xfrm>
              </p:grpSpPr>
              <p:sp>
                <p:nvSpPr>
                  <p:cNvPr id="20" name="Freihandform: Form 173">
                    <a:extLst>
                      <a:ext uri="{FF2B5EF4-FFF2-40B4-BE49-F238E27FC236}">
                        <a16:creationId xmlns:a16="http://schemas.microsoft.com/office/drawing/2014/main" id="{E0879FFA-8FD4-4852-9F08-86DFA2DAABB4}"/>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22" name="Freihandform: Form 174">
                    <a:extLst>
                      <a:ext uri="{FF2B5EF4-FFF2-40B4-BE49-F238E27FC236}">
                        <a16:creationId xmlns:a16="http://schemas.microsoft.com/office/drawing/2014/main" id="{8656D6C2-0B60-4272-97DD-BFEF660E01B2}"/>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23" name="Freihandform: Form 175">
                    <a:extLst>
                      <a:ext uri="{FF2B5EF4-FFF2-40B4-BE49-F238E27FC236}">
                        <a16:creationId xmlns:a16="http://schemas.microsoft.com/office/drawing/2014/main" id="{79C649FF-5657-4F4D-9AFB-5F0E1303AD3F}"/>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25" name="Freihandform: Form 176">
                    <a:extLst>
                      <a:ext uri="{FF2B5EF4-FFF2-40B4-BE49-F238E27FC236}">
                        <a16:creationId xmlns:a16="http://schemas.microsoft.com/office/drawing/2014/main" id="{D5CC29A1-6941-4F88-8F8C-6C352DDC443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26" name="Freihandform: Form 177">
                    <a:extLst>
                      <a:ext uri="{FF2B5EF4-FFF2-40B4-BE49-F238E27FC236}">
                        <a16:creationId xmlns:a16="http://schemas.microsoft.com/office/drawing/2014/main" id="{8A597600-9993-433F-98C5-1FB8020C1EC2}"/>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27" name="Freihandform: Form 178">
                    <a:extLst>
                      <a:ext uri="{FF2B5EF4-FFF2-40B4-BE49-F238E27FC236}">
                        <a16:creationId xmlns:a16="http://schemas.microsoft.com/office/drawing/2014/main" id="{5210DC4B-5658-4799-B906-1B9253B1510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30" name="Freihandform: Form 179">
                    <a:extLst>
                      <a:ext uri="{FF2B5EF4-FFF2-40B4-BE49-F238E27FC236}">
                        <a16:creationId xmlns:a16="http://schemas.microsoft.com/office/drawing/2014/main" id="{8CBB904B-7E56-4BA0-A272-CB69C521BB82}"/>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31" name="Freihandform: Form 180">
                    <a:extLst>
                      <a:ext uri="{FF2B5EF4-FFF2-40B4-BE49-F238E27FC236}">
                        <a16:creationId xmlns:a16="http://schemas.microsoft.com/office/drawing/2014/main" id="{3B7B6E8D-39E6-40BD-BC37-529D1BACF1C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32" name="Freihandform: Form 181">
                    <a:extLst>
                      <a:ext uri="{FF2B5EF4-FFF2-40B4-BE49-F238E27FC236}">
                        <a16:creationId xmlns:a16="http://schemas.microsoft.com/office/drawing/2014/main" id="{6B7D7C75-46B5-4821-AD3D-84288E8317D8}"/>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33" name="Freihandform: Form 182">
                    <a:extLst>
                      <a:ext uri="{FF2B5EF4-FFF2-40B4-BE49-F238E27FC236}">
                        <a16:creationId xmlns:a16="http://schemas.microsoft.com/office/drawing/2014/main" id="{E7EB9117-178F-428E-B769-534F1D88F294}"/>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34" name="Freihandform: Form 183">
                    <a:extLst>
                      <a:ext uri="{FF2B5EF4-FFF2-40B4-BE49-F238E27FC236}">
                        <a16:creationId xmlns:a16="http://schemas.microsoft.com/office/drawing/2014/main" id="{FBE3DC25-AB04-4E96-AC23-4F506C8EBFAE}"/>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35" name="Freihandform: Form 184">
                    <a:extLst>
                      <a:ext uri="{FF2B5EF4-FFF2-40B4-BE49-F238E27FC236}">
                        <a16:creationId xmlns:a16="http://schemas.microsoft.com/office/drawing/2014/main" id="{0CD0A21E-35BC-4FCF-915E-AFC50052C69C}"/>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36" name="Freihandform: Form 185">
                    <a:extLst>
                      <a:ext uri="{FF2B5EF4-FFF2-40B4-BE49-F238E27FC236}">
                        <a16:creationId xmlns:a16="http://schemas.microsoft.com/office/drawing/2014/main" id="{FC721DD0-1D6A-46CC-B989-16AFC81BFC4C}"/>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37" name="Freihandform: Form 186">
                    <a:extLst>
                      <a:ext uri="{FF2B5EF4-FFF2-40B4-BE49-F238E27FC236}">
                        <a16:creationId xmlns:a16="http://schemas.microsoft.com/office/drawing/2014/main" id="{79ED9F5F-94B3-4276-BE5D-789E69907677}"/>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38" name="Grafik 5">
                    <a:extLst>
                      <a:ext uri="{FF2B5EF4-FFF2-40B4-BE49-F238E27FC236}">
                        <a16:creationId xmlns:a16="http://schemas.microsoft.com/office/drawing/2014/main" id="{4A90D31E-4AF8-416D-9D63-C0C20A8D2B29}"/>
                      </a:ext>
                    </a:extLst>
                  </p:cNvPr>
                  <p:cNvGrpSpPr/>
                  <p:nvPr/>
                </p:nvGrpSpPr>
                <p:grpSpPr>
                  <a:xfrm>
                    <a:off x="10468669" y="91979"/>
                    <a:ext cx="2134946" cy="2159439"/>
                    <a:chOff x="10468669" y="91979"/>
                    <a:chExt cx="2134946" cy="2159439"/>
                  </a:xfrm>
                  <a:solidFill>
                    <a:srgbClr val="FFFFFF"/>
                  </a:solidFill>
                </p:grpSpPr>
                <p:sp>
                  <p:nvSpPr>
                    <p:cNvPr id="39" name="Freihandform: Form 188">
                      <a:extLst>
                        <a:ext uri="{FF2B5EF4-FFF2-40B4-BE49-F238E27FC236}">
                          <a16:creationId xmlns:a16="http://schemas.microsoft.com/office/drawing/2014/main" id="{63D88DF8-E96F-4D7F-9795-CF005175F925}"/>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40" name="Freihandform: Form 189">
                      <a:extLst>
                        <a:ext uri="{FF2B5EF4-FFF2-40B4-BE49-F238E27FC236}">
                          <a16:creationId xmlns:a16="http://schemas.microsoft.com/office/drawing/2014/main" id="{FD2B1FF9-7C17-423E-A128-72408CF40B4B}"/>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41" name="Freihandform: Form 190">
                      <a:extLst>
                        <a:ext uri="{FF2B5EF4-FFF2-40B4-BE49-F238E27FC236}">
                          <a16:creationId xmlns:a16="http://schemas.microsoft.com/office/drawing/2014/main" id="{280AA17C-92CD-409E-B4DB-860D2EDE0C2E}"/>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42" name="Freihandform: Form 191">
                      <a:extLst>
                        <a:ext uri="{FF2B5EF4-FFF2-40B4-BE49-F238E27FC236}">
                          <a16:creationId xmlns:a16="http://schemas.microsoft.com/office/drawing/2014/main" id="{B461D9AE-4D53-4209-AD25-2D4E864869EA}"/>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43" name="Freihandform: Form 192">
                      <a:extLst>
                        <a:ext uri="{FF2B5EF4-FFF2-40B4-BE49-F238E27FC236}">
                          <a16:creationId xmlns:a16="http://schemas.microsoft.com/office/drawing/2014/main" id="{9B5C64E6-8EF5-4A0C-8D95-D25B9D70C832}"/>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44" name="Freihandform: Form 193">
                      <a:extLst>
                        <a:ext uri="{FF2B5EF4-FFF2-40B4-BE49-F238E27FC236}">
                          <a16:creationId xmlns:a16="http://schemas.microsoft.com/office/drawing/2014/main" id="{38D10A3D-9EBD-4282-91B6-20E5AE29ECE2}"/>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45" name="Freihandform: Form 194">
                      <a:extLst>
                        <a:ext uri="{FF2B5EF4-FFF2-40B4-BE49-F238E27FC236}">
                          <a16:creationId xmlns:a16="http://schemas.microsoft.com/office/drawing/2014/main" id="{D18302AF-D5A8-48F5-9278-8FC2951A5835}"/>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46" name="Freihandform: Form 195">
                      <a:extLst>
                        <a:ext uri="{FF2B5EF4-FFF2-40B4-BE49-F238E27FC236}">
                          <a16:creationId xmlns:a16="http://schemas.microsoft.com/office/drawing/2014/main" id="{5897F0D5-0D03-43D7-85E4-1F1A4E722793}"/>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47" name="Freihandform: Form 196">
                      <a:extLst>
                        <a:ext uri="{FF2B5EF4-FFF2-40B4-BE49-F238E27FC236}">
                          <a16:creationId xmlns:a16="http://schemas.microsoft.com/office/drawing/2014/main" id="{A3AF54DA-4169-47AB-877E-F028267B2A74}"/>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48" name="Freihandform: Form 197">
                      <a:extLst>
                        <a:ext uri="{FF2B5EF4-FFF2-40B4-BE49-F238E27FC236}">
                          <a16:creationId xmlns:a16="http://schemas.microsoft.com/office/drawing/2014/main" id="{F5ACC607-6148-4223-8E09-57114ADEF5C6}"/>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49" name="Freihandform: Form 198">
                      <a:extLst>
                        <a:ext uri="{FF2B5EF4-FFF2-40B4-BE49-F238E27FC236}">
                          <a16:creationId xmlns:a16="http://schemas.microsoft.com/office/drawing/2014/main" id="{5F7989BE-C6AA-455C-8F02-C5806BB5656F}"/>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50" name="Freihandform: Form 199">
                      <a:extLst>
                        <a:ext uri="{FF2B5EF4-FFF2-40B4-BE49-F238E27FC236}">
                          <a16:creationId xmlns:a16="http://schemas.microsoft.com/office/drawing/2014/main" id="{11FA48EF-906B-4136-9C8F-E3867EAB2225}"/>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51" name="Freihandform: Form 200">
                      <a:extLst>
                        <a:ext uri="{FF2B5EF4-FFF2-40B4-BE49-F238E27FC236}">
                          <a16:creationId xmlns:a16="http://schemas.microsoft.com/office/drawing/2014/main" id="{6A2725EB-229C-444A-BD1F-1D8076F58115}"/>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52" name="Freihandform: Form 201">
                      <a:extLst>
                        <a:ext uri="{FF2B5EF4-FFF2-40B4-BE49-F238E27FC236}">
                          <a16:creationId xmlns:a16="http://schemas.microsoft.com/office/drawing/2014/main" id="{53405413-BC7B-4D2F-915E-C5CF4E5ED16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19" name="Freihandform: Form 172">
                  <a:extLst>
                    <a:ext uri="{FF2B5EF4-FFF2-40B4-BE49-F238E27FC236}">
                      <a16:creationId xmlns:a16="http://schemas.microsoft.com/office/drawing/2014/main" id="{367A1EAC-79AF-4176-94D6-E222773157F9}"/>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16" name="Ellipse 170">
                <a:extLst>
                  <a:ext uri="{FF2B5EF4-FFF2-40B4-BE49-F238E27FC236}">
                    <a16:creationId xmlns:a16="http://schemas.microsoft.com/office/drawing/2014/main" id="{21452493-90A6-417D-BCA1-3D4C161E87A5}"/>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spTree>
    <p:extLst>
      <p:ext uri="{BB962C8B-B14F-4D97-AF65-F5344CB8AC3E}">
        <p14:creationId xmlns:p14="http://schemas.microsoft.com/office/powerpoint/2010/main" val="37427430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15CB036-EC4A-4EFE-B93C-67D73666902B}"/>
              </a:ext>
            </a:extLst>
          </p:cNvPr>
          <p:cNvSpPr>
            <a:spLocks noGrp="1"/>
          </p:cNvSpPr>
          <p:nvPr>
            <p:ph type="sldNum" sz="quarter" idx="12"/>
          </p:nvPr>
        </p:nvSpPr>
        <p:spPr/>
        <p:txBody>
          <a:bodyPr/>
          <a:lstStyle/>
          <a:p>
            <a:fld id="{8FF9B0DE-3FEB-4AA0-B465-B80EF7C1333D}" type="slidenum">
              <a:rPr lang="en-US" smtClean="0"/>
              <a:t>4</a:t>
            </a:fld>
            <a:endParaRPr lang="en-US"/>
          </a:p>
        </p:txBody>
      </p:sp>
      <p:sp>
        <p:nvSpPr>
          <p:cNvPr id="7" name="Title 6">
            <a:extLst>
              <a:ext uri="{FF2B5EF4-FFF2-40B4-BE49-F238E27FC236}">
                <a16:creationId xmlns:a16="http://schemas.microsoft.com/office/drawing/2014/main" id="{CB2954CC-8B28-4389-BD57-E4994D1541B6}"/>
              </a:ext>
            </a:extLst>
          </p:cNvPr>
          <p:cNvSpPr>
            <a:spLocks noGrp="1"/>
          </p:cNvSpPr>
          <p:nvPr>
            <p:ph type="title" idx="4294967295"/>
          </p:nvPr>
        </p:nvSpPr>
        <p:spPr>
          <a:xfrm>
            <a:off x="0" y="333375"/>
            <a:ext cx="2808288" cy="647700"/>
          </a:xfrm>
        </p:spPr>
        <p:txBody>
          <a:bodyPr/>
          <a:lstStyle/>
          <a:p>
            <a:r>
              <a:rPr lang="en-US"/>
              <a:t> </a:t>
            </a:r>
          </a:p>
        </p:txBody>
      </p:sp>
      <p:sp>
        <p:nvSpPr>
          <p:cNvPr id="9" name="Inhaltsplatzhalter 2">
            <a:extLst>
              <a:ext uri="{FF2B5EF4-FFF2-40B4-BE49-F238E27FC236}">
                <a16:creationId xmlns:a16="http://schemas.microsoft.com/office/drawing/2014/main" id="{06EED0C6-5E26-416B-A2C9-278CEB4B5738}"/>
              </a:ext>
            </a:extLst>
          </p:cNvPr>
          <p:cNvSpPr txBox="1">
            <a:spLocks/>
          </p:cNvSpPr>
          <p:nvPr/>
        </p:nvSpPr>
        <p:spPr bwMode="black">
          <a:xfrm>
            <a:off x="2016845" y="1807701"/>
            <a:ext cx="3460911"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Swisscom Big Data onboarded, </a:t>
            </a:r>
            <a:br>
              <a:rPr lang="en-US" sz="1200" b="1" dirty="0"/>
            </a:br>
            <a:r>
              <a:rPr lang="en-US" sz="1200" b="1" dirty="0"/>
              <a:t>Meerkat Anomaly Detection Feasibility</a:t>
            </a:r>
            <a:br>
              <a:rPr lang="en-US" sz="1200" dirty="0"/>
            </a:br>
            <a:r>
              <a:rPr lang="en-US" sz="1200" dirty="0"/>
              <a:t>10 active users. 9 platforms. 87 nodes. 250'000 metrics per seconds. </a:t>
            </a:r>
          </a:p>
        </p:txBody>
      </p:sp>
      <p:sp>
        <p:nvSpPr>
          <p:cNvPr id="10" name="Titel 11">
            <a:extLst>
              <a:ext uri="{FF2B5EF4-FFF2-40B4-BE49-F238E27FC236}">
                <a16:creationId xmlns:a16="http://schemas.microsoft.com/office/drawing/2014/main" id="{45E2BF80-4C23-4313-BBA8-1440353B7BA3}"/>
              </a:ext>
            </a:extLst>
          </p:cNvPr>
          <p:cNvSpPr txBox="1">
            <a:spLocks/>
          </p:cNvSpPr>
          <p:nvPr/>
        </p:nvSpPr>
        <p:spPr bwMode="black">
          <a:xfrm>
            <a:off x="254228" y="1807701"/>
            <a:ext cx="1114546"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7-2018</a:t>
            </a:r>
          </a:p>
        </p:txBody>
      </p:sp>
      <p:sp>
        <p:nvSpPr>
          <p:cNvPr id="12" name="Titel 11">
            <a:extLst>
              <a:ext uri="{FF2B5EF4-FFF2-40B4-BE49-F238E27FC236}">
                <a16:creationId xmlns:a16="http://schemas.microsoft.com/office/drawing/2014/main" id="{45359ADA-1B55-44C8-BFDB-B206CCF445D2}"/>
              </a:ext>
            </a:extLst>
          </p:cNvPr>
          <p:cNvSpPr txBox="1">
            <a:spLocks/>
          </p:cNvSpPr>
          <p:nvPr/>
        </p:nvSpPr>
        <p:spPr bwMode="black">
          <a:xfrm>
            <a:off x="240060" y="2624540"/>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9</a:t>
            </a:r>
          </a:p>
        </p:txBody>
      </p:sp>
      <p:sp>
        <p:nvSpPr>
          <p:cNvPr id="13" name="Titel 11">
            <a:extLst>
              <a:ext uri="{FF2B5EF4-FFF2-40B4-BE49-F238E27FC236}">
                <a16:creationId xmlns:a16="http://schemas.microsoft.com/office/drawing/2014/main" id="{3806DEF0-00DB-4FE7-BE92-B9084BACD05C}"/>
              </a:ext>
            </a:extLst>
          </p:cNvPr>
          <p:cNvSpPr txBox="1">
            <a:spLocks/>
          </p:cNvSpPr>
          <p:nvPr/>
        </p:nvSpPr>
        <p:spPr bwMode="black">
          <a:xfrm>
            <a:off x="216742" y="3500507"/>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20</a:t>
            </a:r>
          </a:p>
        </p:txBody>
      </p:sp>
      <p:sp>
        <p:nvSpPr>
          <p:cNvPr id="14" name="Inhaltsplatzhalter 2">
            <a:extLst>
              <a:ext uri="{FF2B5EF4-FFF2-40B4-BE49-F238E27FC236}">
                <a16:creationId xmlns:a16="http://schemas.microsoft.com/office/drawing/2014/main" id="{8D7BABC2-8669-48D6-80E4-670851391A50}"/>
              </a:ext>
            </a:extLst>
          </p:cNvPr>
          <p:cNvSpPr txBox="1">
            <a:spLocks/>
          </p:cNvSpPr>
          <p:nvPr/>
        </p:nvSpPr>
        <p:spPr bwMode="black">
          <a:xfrm>
            <a:off x="2029172" y="2624540"/>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BGP Monitoring Protocol and YANG Push</a:t>
            </a:r>
            <a:br>
              <a:rPr lang="en-US" sz="1200" b="1" dirty="0"/>
            </a:br>
            <a:r>
              <a:rPr lang="en-US" sz="1200" b="1" dirty="0"/>
              <a:t>IETF Engagement started</a:t>
            </a:r>
            <a:br>
              <a:rPr lang="en-US" sz="1200" dirty="0"/>
            </a:br>
            <a:r>
              <a:rPr lang="en-US" sz="1200" dirty="0"/>
              <a:t>40 active users. 17 platforms. 233 nodes. 1'200'000 metrics per second.</a:t>
            </a:r>
          </a:p>
        </p:txBody>
      </p:sp>
      <p:sp>
        <p:nvSpPr>
          <p:cNvPr id="15" name="Inhaltsplatzhalter 2">
            <a:extLst>
              <a:ext uri="{FF2B5EF4-FFF2-40B4-BE49-F238E27FC236}">
                <a16:creationId xmlns:a16="http://schemas.microsoft.com/office/drawing/2014/main" id="{39142325-FD64-45D9-9834-E63A36AF6DA3}"/>
              </a:ext>
            </a:extLst>
          </p:cNvPr>
          <p:cNvSpPr txBox="1">
            <a:spLocks/>
          </p:cNvSpPr>
          <p:nvPr/>
        </p:nvSpPr>
        <p:spPr bwMode="black">
          <a:xfrm>
            <a:off x="2016846" y="3465879"/>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Pivot Migration, Druid Scale Out, </a:t>
            </a:r>
            <a:br>
              <a:rPr lang="en-US" sz="1200" b="1" dirty="0"/>
            </a:br>
            <a:r>
              <a:rPr lang="en-US" sz="1200" b="1" dirty="0"/>
              <a:t>IETF collaboration established</a:t>
            </a:r>
            <a:br>
              <a:rPr lang="en-US" sz="1200" dirty="0"/>
            </a:br>
            <a:r>
              <a:rPr lang="en-US" sz="1200" dirty="0"/>
              <a:t>160 active users. 34 platforms. 2500 nodes. 3'000'000 metrics per second. Active probing with 1'500'000 broadband subscribers.</a:t>
            </a:r>
          </a:p>
        </p:txBody>
      </p:sp>
      <p:sp>
        <p:nvSpPr>
          <p:cNvPr id="26" name="Inhaltsplatzhalter 2">
            <a:extLst>
              <a:ext uri="{FF2B5EF4-FFF2-40B4-BE49-F238E27FC236}">
                <a16:creationId xmlns:a16="http://schemas.microsoft.com/office/drawing/2014/main" id="{497E575D-B8C2-4224-A744-A7B13C57660E}"/>
              </a:ext>
            </a:extLst>
          </p:cNvPr>
          <p:cNvSpPr txBox="1">
            <a:spLocks/>
          </p:cNvSpPr>
          <p:nvPr/>
        </p:nvSpPr>
        <p:spPr bwMode="black">
          <a:xfrm>
            <a:off x="2016846" y="1360319"/>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Flow Aggregation Proof of Concept </a:t>
            </a:r>
            <a:br>
              <a:rPr lang="en-US" sz="1200" dirty="0"/>
            </a:br>
            <a:r>
              <a:rPr lang="en-US" sz="1200" dirty="0"/>
              <a:t>Internet Distribution Core and TV 2.0 </a:t>
            </a:r>
          </a:p>
        </p:txBody>
      </p:sp>
      <p:sp>
        <p:nvSpPr>
          <p:cNvPr id="27" name="Titel 11">
            <a:extLst>
              <a:ext uri="{FF2B5EF4-FFF2-40B4-BE49-F238E27FC236}">
                <a16:creationId xmlns:a16="http://schemas.microsoft.com/office/drawing/2014/main" id="{8B51B47C-F3DC-4138-8BEA-9BE11738AFBF}"/>
              </a:ext>
            </a:extLst>
          </p:cNvPr>
          <p:cNvSpPr txBox="1">
            <a:spLocks/>
          </p:cNvSpPr>
          <p:nvPr/>
        </p:nvSpPr>
        <p:spPr bwMode="black">
          <a:xfrm>
            <a:off x="287284" y="1360319"/>
            <a:ext cx="1081489"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5-2016</a:t>
            </a:r>
          </a:p>
        </p:txBody>
      </p:sp>
      <p:sp>
        <p:nvSpPr>
          <p:cNvPr id="29" name="Freeform: Shape 28">
            <a:extLst>
              <a:ext uri="{FF2B5EF4-FFF2-40B4-BE49-F238E27FC236}">
                <a16:creationId xmlns:a16="http://schemas.microsoft.com/office/drawing/2014/main" id="{C61D394D-129D-4CA5-B057-22889349BC8F}"/>
              </a:ext>
            </a:extLst>
          </p:cNvPr>
          <p:cNvSpPr/>
          <p:nvPr/>
        </p:nvSpPr>
        <p:spPr bwMode="gray">
          <a:xfrm>
            <a:off x="7709198" y="2355560"/>
            <a:ext cx="4378036" cy="1888342"/>
          </a:xfrm>
          <a:custGeom>
            <a:avLst/>
            <a:gdLst>
              <a:gd name="connsiteX0" fmla="*/ 0 w 4655127"/>
              <a:gd name="connsiteY0" fmla="*/ 1589193 h 2010346"/>
              <a:gd name="connsiteX1" fmla="*/ 794327 w 4655127"/>
              <a:gd name="connsiteY1" fmla="*/ 1663084 h 2010346"/>
              <a:gd name="connsiteX2" fmla="*/ 2235200 w 4655127"/>
              <a:gd name="connsiteY2" fmla="*/ 539 h 2010346"/>
              <a:gd name="connsiteX3" fmla="*/ 3740727 w 4655127"/>
              <a:gd name="connsiteY3" fmla="*/ 1857048 h 2010346"/>
              <a:gd name="connsiteX4" fmla="*/ 4655127 w 4655127"/>
              <a:gd name="connsiteY4" fmla="*/ 1884757 h 2010346"/>
              <a:gd name="connsiteX0" fmla="*/ 0 w 4655127"/>
              <a:gd name="connsiteY0" fmla="*/ 1588735 h 1937418"/>
              <a:gd name="connsiteX1" fmla="*/ 794327 w 4655127"/>
              <a:gd name="connsiteY1" fmla="*/ 1662626 h 1937418"/>
              <a:gd name="connsiteX2" fmla="*/ 2235200 w 4655127"/>
              <a:gd name="connsiteY2" fmla="*/ 81 h 1937418"/>
              <a:gd name="connsiteX3" fmla="*/ 3639127 w 4655127"/>
              <a:gd name="connsiteY3" fmla="*/ 1736517 h 1937418"/>
              <a:gd name="connsiteX4" fmla="*/ 4655127 w 4655127"/>
              <a:gd name="connsiteY4" fmla="*/ 1884299 h 1937418"/>
              <a:gd name="connsiteX0" fmla="*/ 0 w 4645890"/>
              <a:gd name="connsiteY0" fmla="*/ 1588735 h 1900131"/>
              <a:gd name="connsiteX1" fmla="*/ 794327 w 4645890"/>
              <a:gd name="connsiteY1" fmla="*/ 1662626 h 1900131"/>
              <a:gd name="connsiteX2" fmla="*/ 2235200 w 4645890"/>
              <a:gd name="connsiteY2" fmla="*/ 81 h 1900131"/>
              <a:gd name="connsiteX3" fmla="*/ 3639127 w 4645890"/>
              <a:gd name="connsiteY3" fmla="*/ 1736517 h 1900131"/>
              <a:gd name="connsiteX4" fmla="*/ 4645890 w 4645890"/>
              <a:gd name="connsiteY4" fmla="*/ 1810408 h 1900131"/>
              <a:gd name="connsiteX0" fmla="*/ 0 w 4645890"/>
              <a:gd name="connsiteY0" fmla="*/ 1588676 h 1843012"/>
              <a:gd name="connsiteX1" fmla="*/ 794327 w 4645890"/>
              <a:gd name="connsiteY1" fmla="*/ 1662567 h 1843012"/>
              <a:gd name="connsiteX2" fmla="*/ 2235200 w 4645890"/>
              <a:gd name="connsiteY2" fmla="*/ 22 h 1843012"/>
              <a:gd name="connsiteX3" fmla="*/ 3546764 w 4645890"/>
              <a:gd name="connsiteY3" fmla="*/ 1625621 h 1843012"/>
              <a:gd name="connsiteX4" fmla="*/ 4645890 w 4645890"/>
              <a:gd name="connsiteY4" fmla="*/ 1810349 h 1843012"/>
              <a:gd name="connsiteX0" fmla="*/ 0 w 4645890"/>
              <a:gd name="connsiteY0" fmla="*/ 1588660 h 1850511"/>
              <a:gd name="connsiteX1" fmla="*/ 794327 w 4645890"/>
              <a:gd name="connsiteY1" fmla="*/ 1662551 h 1850511"/>
              <a:gd name="connsiteX2" fmla="*/ 2235200 w 4645890"/>
              <a:gd name="connsiteY2" fmla="*/ 6 h 1850511"/>
              <a:gd name="connsiteX3" fmla="*/ 3546764 w 4645890"/>
              <a:gd name="connsiteY3" fmla="*/ 1644077 h 1850511"/>
              <a:gd name="connsiteX4" fmla="*/ 4645890 w 4645890"/>
              <a:gd name="connsiteY4" fmla="*/ 1810333 h 1850511"/>
              <a:gd name="connsiteX0" fmla="*/ 0 w 4645890"/>
              <a:gd name="connsiteY0" fmla="*/ 1588660 h 1856372"/>
              <a:gd name="connsiteX1" fmla="*/ 794327 w 4645890"/>
              <a:gd name="connsiteY1" fmla="*/ 1662551 h 1856372"/>
              <a:gd name="connsiteX2" fmla="*/ 2235200 w 4645890"/>
              <a:gd name="connsiteY2" fmla="*/ 6 h 1856372"/>
              <a:gd name="connsiteX3" fmla="*/ 3546764 w 4645890"/>
              <a:gd name="connsiteY3" fmla="*/ 1644077 h 1856372"/>
              <a:gd name="connsiteX4" fmla="*/ 4645890 w 4645890"/>
              <a:gd name="connsiteY4" fmla="*/ 1819570 h 1856372"/>
              <a:gd name="connsiteX0" fmla="*/ 0 w 4645890"/>
              <a:gd name="connsiteY0" fmla="*/ 1588701 h 1856413"/>
              <a:gd name="connsiteX1" fmla="*/ 794327 w 4645890"/>
              <a:gd name="connsiteY1" fmla="*/ 1699538 h 1856413"/>
              <a:gd name="connsiteX2" fmla="*/ 2235200 w 4645890"/>
              <a:gd name="connsiteY2" fmla="*/ 47 h 1856413"/>
              <a:gd name="connsiteX3" fmla="*/ 3546764 w 4645890"/>
              <a:gd name="connsiteY3" fmla="*/ 1644118 h 1856413"/>
              <a:gd name="connsiteX4" fmla="*/ 4645890 w 4645890"/>
              <a:gd name="connsiteY4" fmla="*/ 1819611 h 1856413"/>
              <a:gd name="connsiteX0" fmla="*/ 0 w 4729017"/>
              <a:gd name="connsiteY0" fmla="*/ 1625646 h 1856413"/>
              <a:gd name="connsiteX1" fmla="*/ 877454 w 4729017"/>
              <a:gd name="connsiteY1" fmla="*/ 1699538 h 1856413"/>
              <a:gd name="connsiteX2" fmla="*/ 2318327 w 4729017"/>
              <a:gd name="connsiteY2" fmla="*/ 47 h 1856413"/>
              <a:gd name="connsiteX3" fmla="*/ 3629891 w 4729017"/>
              <a:gd name="connsiteY3" fmla="*/ 1644118 h 1856413"/>
              <a:gd name="connsiteX4" fmla="*/ 4729017 w 4729017"/>
              <a:gd name="connsiteY4" fmla="*/ 1819611 h 1856413"/>
              <a:gd name="connsiteX0" fmla="*/ 0 w 4729017"/>
              <a:gd name="connsiteY0" fmla="*/ 1625646 h 1856413"/>
              <a:gd name="connsiteX1" fmla="*/ 877454 w 4729017"/>
              <a:gd name="connsiteY1" fmla="*/ 1699538 h 1856413"/>
              <a:gd name="connsiteX2" fmla="*/ 2318327 w 4729017"/>
              <a:gd name="connsiteY2" fmla="*/ 47 h 1856413"/>
              <a:gd name="connsiteX3" fmla="*/ 3629891 w 4729017"/>
              <a:gd name="connsiteY3" fmla="*/ 1644118 h 1856413"/>
              <a:gd name="connsiteX4" fmla="*/ 4729017 w 4729017"/>
              <a:gd name="connsiteY4" fmla="*/ 1819611 h 1856413"/>
              <a:gd name="connsiteX0" fmla="*/ 0 w 4747490"/>
              <a:gd name="connsiteY0" fmla="*/ 1754955 h 1856413"/>
              <a:gd name="connsiteX1" fmla="*/ 895927 w 4747490"/>
              <a:gd name="connsiteY1" fmla="*/ 1699538 h 1856413"/>
              <a:gd name="connsiteX2" fmla="*/ 2336800 w 4747490"/>
              <a:gd name="connsiteY2" fmla="*/ 47 h 1856413"/>
              <a:gd name="connsiteX3" fmla="*/ 3648364 w 4747490"/>
              <a:gd name="connsiteY3" fmla="*/ 1644118 h 1856413"/>
              <a:gd name="connsiteX4" fmla="*/ 4747490 w 4747490"/>
              <a:gd name="connsiteY4" fmla="*/ 1819611 h 1856413"/>
              <a:gd name="connsiteX0" fmla="*/ 0 w 4747490"/>
              <a:gd name="connsiteY0" fmla="*/ 1754955 h 1856413"/>
              <a:gd name="connsiteX1" fmla="*/ 895927 w 4747490"/>
              <a:gd name="connsiteY1" fmla="*/ 1699538 h 1856413"/>
              <a:gd name="connsiteX2" fmla="*/ 2336800 w 4747490"/>
              <a:gd name="connsiteY2" fmla="*/ 47 h 1856413"/>
              <a:gd name="connsiteX3" fmla="*/ 3648364 w 4747490"/>
              <a:gd name="connsiteY3" fmla="*/ 1644118 h 1856413"/>
              <a:gd name="connsiteX4" fmla="*/ 4747490 w 4747490"/>
              <a:gd name="connsiteY4" fmla="*/ 1819611 h 1856413"/>
              <a:gd name="connsiteX0" fmla="*/ 0 w 4738254"/>
              <a:gd name="connsiteY0" fmla="*/ 1801137 h 1856413"/>
              <a:gd name="connsiteX1" fmla="*/ 886691 w 4738254"/>
              <a:gd name="connsiteY1" fmla="*/ 1699538 h 1856413"/>
              <a:gd name="connsiteX2" fmla="*/ 2327564 w 4738254"/>
              <a:gd name="connsiteY2" fmla="*/ 47 h 1856413"/>
              <a:gd name="connsiteX3" fmla="*/ 3639128 w 4738254"/>
              <a:gd name="connsiteY3" fmla="*/ 1644118 h 1856413"/>
              <a:gd name="connsiteX4" fmla="*/ 4738254 w 4738254"/>
              <a:gd name="connsiteY4" fmla="*/ 1819611 h 1856413"/>
              <a:gd name="connsiteX0" fmla="*/ 0 w 4738254"/>
              <a:gd name="connsiteY0" fmla="*/ 1801137 h 1860762"/>
              <a:gd name="connsiteX1" fmla="*/ 886691 w 4738254"/>
              <a:gd name="connsiteY1" fmla="*/ 1699538 h 1860762"/>
              <a:gd name="connsiteX2" fmla="*/ 2327564 w 4738254"/>
              <a:gd name="connsiteY2" fmla="*/ 47 h 1860762"/>
              <a:gd name="connsiteX3" fmla="*/ 3639128 w 4738254"/>
              <a:gd name="connsiteY3" fmla="*/ 1644118 h 1860762"/>
              <a:gd name="connsiteX4" fmla="*/ 4738254 w 4738254"/>
              <a:gd name="connsiteY4" fmla="*/ 1819611 h 1860762"/>
              <a:gd name="connsiteX0" fmla="*/ 0 w 4719782"/>
              <a:gd name="connsiteY0" fmla="*/ 1828846 h 1873858"/>
              <a:gd name="connsiteX1" fmla="*/ 868219 w 4719782"/>
              <a:gd name="connsiteY1" fmla="*/ 1699538 h 1873858"/>
              <a:gd name="connsiteX2" fmla="*/ 2309092 w 4719782"/>
              <a:gd name="connsiteY2" fmla="*/ 47 h 1873858"/>
              <a:gd name="connsiteX3" fmla="*/ 3620656 w 4719782"/>
              <a:gd name="connsiteY3" fmla="*/ 1644118 h 1873858"/>
              <a:gd name="connsiteX4" fmla="*/ 4719782 w 4719782"/>
              <a:gd name="connsiteY4" fmla="*/ 1819611 h 1873858"/>
              <a:gd name="connsiteX0" fmla="*/ 0 w 4719782"/>
              <a:gd name="connsiteY0" fmla="*/ 1828846 h 1859118"/>
              <a:gd name="connsiteX1" fmla="*/ 868219 w 4719782"/>
              <a:gd name="connsiteY1" fmla="*/ 1699538 h 1859118"/>
              <a:gd name="connsiteX2" fmla="*/ 2309092 w 4719782"/>
              <a:gd name="connsiteY2" fmla="*/ 47 h 1859118"/>
              <a:gd name="connsiteX3" fmla="*/ 3620656 w 4719782"/>
              <a:gd name="connsiteY3" fmla="*/ 1644118 h 1859118"/>
              <a:gd name="connsiteX4" fmla="*/ 4719782 w 4719782"/>
              <a:gd name="connsiteY4" fmla="*/ 1819611 h 1859118"/>
              <a:gd name="connsiteX0" fmla="*/ 0 w 4756727"/>
              <a:gd name="connsiteY0" fmla="*/ 1856555 h 1872094"/>
              <a:gd name="connsiteX1" fmla="*/ 905164 w 4756727"/>
              <a:gd name="connsiteY1" fmla="*/ 1699538 h 1872094"/>
              <a:gd name="connsiteX2" fmla="*/ 2346037 w 4756727"/>
              <a:gd name="connsiteY2" fmla="*/ 47 h 1872094"/>
              <a:gd name="connsiteX3" fmla="*/ 3657601 w 4756727"/>
              <a:gd name="connsiteY3" fmla="*/ 1644118 h 1872094"/>
              <a:gd name="connsiteX4" fmla="*/ 4756727 w 4756727"/>
              <a:gd name="connsiteY4" fmla="*/ 1819611 h 1872094"/>
              <a:gd name="connsiteX0" fmla="*/ 0 w 4756727"/>
              <a:gd name="connsiteY0" fmla="*/ 1856555 h 1888342"/>
              <a:gd name="connsiteX1" fmla="*/ 905164 w 4756727"/>
              <a:gd name="connsiteY1" fmla="*/ 1699538 h 1888342"/>
              <a:gd name="connsiteX2" fmla="*/ 2346037 w 4756727"/>
              <a:gd name="connsiteY2" fmla="*/ 47 h 1888342"/>
              <a:gd name="connsiteX3" fmla="*/ 3657601 w 4756727"/>
              <a:gd name="connsiteY3" fmla="*/ 1644118 h 1888342"/>
              <a:gd name="connsiteX4" fmla="*/ 4756727 w 4756727"/>
              <a:gd name="connsiteY4" fmla="*/ 1819611 h 1888342"/>
              <a:gd name="connsiteX0" fmla="*/ 0 w 4378036"/>
              <a:gd name="connsiteY0" fmla="*/ 1856555 h 1888342"/>
              <a:gd name="connsiteX1" fmla="*/ 905164 w 4378036"/>
              <a:gd name="connsiteY1" fmla="*/ 1699538 h 1888342"/>
              <a:gd name="connsiteX2" fmla="*/ 2346037 w 4378036"/>
              <a:gd name="connsiteY2" fmla="*/ 47 h 1888342"/>
              <a:gd name="connsiteX3" fmla="*/ 3657601 w 4378036"/>
              <a:gd name="connsiteY3" fmla="*/ 1644118 h 1888342"/>
              <a:gd name="connsiteX4" fmla="*/ 4378036 w 4378036"/>
              <a:gd name="connsiteY4" fmla="*/ 1828847 h 1888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8036" h="1888342">
                <a:moveTo>
                  <a:pt x="0" y="1856555"/>
                </a:moveTo>
                <a:cubicBezTo>
                  <a:pt x="340206" y="1841161"/>
                  <a:pt x="514158" y="2008956"/>
                  <a:pt x="905164" y="1699538"/>
                </a:cubicBezTo>
                <a:cubicBezTo>
                  <a:pt x="1296170" y="1390120"/>
                  <a:pt x="1887298" y="9284"/>
                  <a:pt x="2346037" y="47"/>
                </a:cubicBezTo>
                <a:cubicBezTo>
                  <a:pt x="2804776" y="-9190"/>
                  <a:pt x="3255819" y="1340857"/>
                  <a:pt x="3657601" y="1644118"/>
                </a:cubicBezTo>
                <a:cubicBezTo>
                  <a:pt x="4059383" y="1947379"/>
                  <a:pt x="4230254" y="1853477"/>
                  <a:pt x="4378036" y="1828847"/>
                </a:cubicBezTo>
              </a:path>
            </a:pathLst>
          </a:custGeom>
          <a:noFill/>
          <a:ln w="50800">
            <a:gradFill>
              <a:gsLst>
                <a:gs pos="100000">
                  <a:schemeClr val="tx2">
                    <a:lumMod val="20000"/>
                    <a:lumOff val="80000"/>
                  </a:schemeClr>
                </a:gs>
                <a:gs pos="0">
                  <a:srgbClr val="C00000"/>
                </a:gs>
                <a:gs pos="100000">
                  <a:schemeClr val="bg1">
                    <a:lumMod val="9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endParaRPr>
          </a:p>
        </p:txBody>
      </p:sp>
      <p:cxnSp>
        <p:nvCxnSpPr>
          <p:cNvPr id="31" name="Straight Connector 30">
            <a:extLst>
              <a:ext uri="{FF2B5EF4-FFF2-40B4-BE49-F238E27FC236}">
                <a16:creationId xmlns:a16="http://schemas.microsoft.com/office/drawing/2014/main" id="{443E486A-8AB5-4FAE-82DB-37B83C8434E0}"/>
              </a:ext>
            </a:extLst>
          </p:cNvPr>
          <p:cNvCxnSpPr>
            <a:cxnSpLocks/>
          </p:cNvCxnSpPr>
          <p:nvPr/>
        </p:nvCxnSpPr>
        <p:spPr bwMode="gray">
          <a:xfrm>
            <a:off x="9370183" y="3043334"/>
            <a:ext cx="0" cy="118353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15C439D-A2BC-4E9A-8330-34C7F221FFF8}"/>
              </a:ext>
            </a:extLst>
          </p:cNvPr>
          <p:cNvCxnSpPr>
            <a:cxnSpLocks/>
          </p:cNvCxnSpPr>
          <p:nvPr/>
        </p:nvCxnSpPr>
        <p:spPr bwMode="gray">
          <a:xfrm>
            <a:off x="10022949" y="2434474"/>
            <a:ext cx="0" cy="179239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949731-9B03-4735-92A8-FB5E7C0763DE}"/>
              </a:ext>
            </a:extLst>
          </p:cNvPr>
          <p:cNvCxnSpPr>
            <a:cxnSpLocks/>
          </p:cNvCxnSpPr>
          <p:nvPr/>
        </p:nvCxnSpPr>
        <p:spPr bwMode="gray">
          <a:xfrm>
            <a:off x="10654036" y="2952249"/>
            <a:ext cx="0" cy="129165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sp>
        <p:nvSpPr>
          <p:cNvPr id="44" name="Inhaltsplatzhalter 2">
            <a:extLst>
              <a:ext uri="{FF2B5EF4-FFF2-40B4-BE49-F238E27FC236}">
                <a16:creationId xmlns:a16="http://schemas.microsoft.com/office/drawing/2014/main" id="{8677FA5E-11A6-42EE-811E-53F8DA7B2EBF}"/>
              </a:ext>
            </a:extLst>
          </p:cNvPr>
          <p:cNvSpPr txBox="1">
            <a:spLocks/>
          </p:cNvSpPr>
          <p:nvPr/>
        </p:nvSpPr>
        <p:spPr bwMode="black">
          <a:xfrm>
            <a:off x="8663921" y="3926011"/>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Early</a:t>
            </a:r>
            <a:br>
              <a:rPr lang="en-US" sz="1100">
                <a:solidFill>
                  <a:srgbClr val="C00000"/>
                </a:solidFill>
              </a:rPr>
            </a:br>
            <a:r>
              <a:rPr lang="en-US" sz="1100">
                <a:solidFill>
                  <a:srgbClr val="C00000"/>
                </a:solidFill>
              </a:rPr>
              <a:t>adopters </a:t>
            </a:r>
          </a:p>
        </p:txBody>
      </p:sp>
      <p:sp>
        <p:nvSpPr>
          <p:cNvPr id="45" name="Inhaltsplatzhalter 2">
            <a:extLst>
              <a:ext uri="{FF2B5EF4-FFF2-40B4-BE49-F238E27FC236}">
                <a16:creationId xmlns:a16="http://schemas.microsoft.com/office/drawing/2014/main" id="{A0480661-105C-4932-A672-A7DA47B09335}"/>
              </a:ext>
            </a:extLst>
          </p:cNvPr>
          <p:cNvSpPr txBox="1">
            <a:spLocks/>
          </p:cNvSpPr>
          <p:nvPr/>
        </p:nvSpPr>
        <p:spPr bwMode="black">
          <a:xfrm>
            <a:off x="9389726" y="3926011"/>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Early</a:t>
            </a:r>
            <a:br>
              <a:rPr lang="en-US" sz="1100">
                <a:solidFill>
                  <a:srgbClr val="C00000"/>
                </a:solidFill>
              </a:rPr>
            </a:br>
            <a:r>
              <a:rPr lang="en-US" sz="1100">
                <a:solidFill>
                  <a:srgbClr val="C00000"/>
                </a:solidFill>
              </a:rPr>
              <a:t>majority</a:t>
            </a:r>
          </a:p>
        </p:txBody>
      </p:sp>
      <p:sp>
        <p:nvSpPr>
          <p:cNvPr id="46" name="Inhaltsplatzhalter 2">
            <a:extLst>
              <a:ext uri="{FF2B5EF4-FFF2-40B4-BE49-F238E27FC236}">
                <a16:creationId xmlns:a16="http://schemas.microsoft.com/office/drawing/2014/main" id="{3686A189-39F3-4497-B8C6-1A3FDD603ECB}"/>
              </a:ext>
            </a:extLst>
          </p:cNvPr>
          <p:cNvSpPr txBox="1">
            <a:spLocks/>
          </p:cNvSpPr>
          <p:nvPr/>
        </p:nvSpPr>
        <p:spPr bwMode="black">
          <a:xfrm>
            <a:off x="10040352" y="3932972"/>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Late</a:t>
            </a:r>
            <a:br>
              <a:rPr lang="en-US" sz="1100">
                <a:solidFill>
                  <a:srgbClr val="C00000"/>
                </a:solidFill>
              </a:rPr>
            </a:br>
            <a:r>
              <a:rPr lang="en-US" sz="1100">
                <a:solidFill>
                  <a:srgbClr val="C00000"/>
                </a:solidFill>
              </a:rPr>
              <a:t>majority</a:t>
            </a:r>
          </a:p>
        </p:txBody>
      </p:sp>
      <p:sp>
        <p:nvSpPr>
          <p:cNvPr id="47" name="Inhaltsplatzhalter 2">
            <a:extLst>
              <a:ext uri="{FF2B5EF4-FFF2-40B4-BE49-F238E27FC236}">
                <a16:creationId xmlns:a16="http://schemas.microsoft.com/office/drawing/2014/main" id="{AAF91844-8B84-4645-B3E9-113D49591A27}"/>
              </a:ext>
            </a:extLst>
          </p:cNvPr>
          <p:cNvSpPr txBox="1">
            <a:spLocks/>
          </p:cNvSpPr>
          <p:nvPr/>
        </p:nvSpPr>
        <p:spPr bwMode="black">
          <a:xfrm>
            <a:off x="10710522" y="3909129"/>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br>
              <a:rPr lang="en-US" sz="1100">
                <a:solidFill>
                  <a:srgbClr val="C00000"/>
                </a:solidFill>
              </a:rPr>
            </a:br>
            <a:r>
              <a:rPr lang="en-US" sz="1100">
                <a:solidFill>
                  <a:srgbClr val="C00000"/>
                </a:solidFill>
              </a:rPr>
              <a:t>Laggards</a:t>
            </a:r>
          </a:p>
        </p:txBody>
      </p:sp>
      <p:sp>
        <p:nvSpPr>
          <p:cNvPr id="50" name="Speech Bubble: Rectangle 49">
            <a:extLst>
              <a:ext uri="{FF2B5EF4-FFF2-40B4-BE49-F238E27FC236}">
                <a16:creationId xmlns:a16="http://schemas.microsoft.com/office/drawing/2014/main" id="{22749B2E-7C7F-40CB-B703-5AEC720BE941}"/>
              </a:ext>
            </a:extLst>
          </p:cNvPr>
          <p:cNvSpPr/>
          <p:nvPr/>
        </p:nvSpPr>
        <p:spPr bwMode="gray">
          <a:xfrm>
            <a:off x="9238062" y="1356769"/>
            <a:ext cx="1569775" cy="318607"/>
          </a:xfrm>
          <a:prstGeom prst="wedgeRectCallout">
            <a:avLst>
              <a:gd name="adj1" fmla="val -3932"/>
              <a:gd name="adj2" fmla="val 256926"/>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Platform onboarding</a:t>
            </a:r>
          </a:p>
        </p:txBody>
      </p:sp>
      <p:sp>
        <p:nvSpPr>
          <p:cNvPr id="51" name="Speech Bubble: Rectangle 50">
            <a:extLst>
              <a:ext uri="{FF2B5EF4-FFF2-40B4-BE49-F238E27FC236}">
                <a16:creationId xmlns:a16="http://schemas.microsoft.com/office/drawing/2014/main" id="{2B377EB9-EBAA-4281-9022-EDCC11E90694}"/>
              </a:ext>
            </a:extLst>
          </p:cNvPr>
          <p:cNvSpPr/>
          <p:nvPr/>
        </p:nvSpPr>
        <p:spPr bwMode="gray">
          <a:xfrm>
            <a:off x="5819500" y="2316984"/>
            <a:ext cx="2882848" cy="391066"/>
          </a:xfrm>
          <a:prstGeom prst="wedgeRectCallout">
            <a:avLst>
              <a:gd name="adj1" fmla="val 74475"/>
              <a:gd name="adj2" fmla="val 100875"/>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Change verification and troubleshooting</a:t>
            </a:r>
          </a:p>
        </p:txBody>
      </p:sp>
      <p:sp>
        <p:nvSpPr>
          <p:cNvPr id="52" name="Speech Bubble: Rectangle 51">
            <a:extLst>
              <a:ext uri="{FF2B5EF4-FFF2-40B4-BE49-F238E27FC236}">
                <a16:creationId xmlns:a16="http://schemas.microsoft.com/office/drawing/2014/main" id="{A002DD5C-2F1D-4B24-A3B9-EA32C1AB2444}"/>
              </a:ext>
            </a:extLst>
          </p:cNvPr>
          <p:cNvSpPr/>
          <p:nvPr/>
        </p:nvSpPr>
        <p:spPr bwMode="gray">
          <a:xfrm>
            <a:off x="5652616" y="4117710"/>
            <a:ext cx="1689296" cy="477664"/>
          </a:xfrm>
          <a:prstGeom prst="wedgeRectCallout">
            <a:avLst>
              <a:gd name="adj1" fmla="val 71465"/>
              <a:gd name="adj2" fmla="val -36116"/>
            </a:avLst>
          </a:prstGeom>
          <a:gradFill flip="none" rotWithShape="1">
            <a:gsLst>
              <a:gs pos="100000">
                <a:schemeClr val="tx2">
                  <a:lumMod val="20000"/>
                  <a:lumOff val="80000"/>
                  <a:alpha val="10000"/>
                </a:schemeClr>
              </a:gs>
              <a:gs pos="0">
                <a:schemeClr val="tx2">
                  <a:lumMod val="60000"/>
                  <a:lumOff val="40000"/>
                </a:schemeClr>
              </a:gs>
            </a:gsLst>
            <a:path path="circle">
              <a:fillToRect l="100000" t="100000"/>
            </a:path>
            <a:tileRect r="-100000" b="-10000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Capacity management and trend detection</a:t>
            </a:r>
          </a:p>
        </p:txBody>
      </p:sp>
      <p:sp>
        <p:nvSpPr>
          <p:cNvPr id="53" name="Speech Bubble: Rectangle 52">
            <a:extLst>
              <a:ext uri="{FF2B5EF4-FFF2-40B4-BE49-F238E27FC236}">
                <a16:creationId xmlns:a16="http://schemas.microsoft.com/office/drawing/2014/main" id="{6B2E910B-0848-4B7D-A422-BE84E625B201}"/>
              </a:ext>
            </a:extLst>
          </p:cNvPr>
          <p:cNvSpPr/>
          <p:nvPr/>
        </p:nvSpPr>
        <p:spPr bwMode="gray">
          <a:xfrm>
            <a:off x="6572372" y="2812447"/>
            <a:ext cx="1865743" cy="336389"/>
          </a:xfrm>
          <a:prstGeom prst="wedgeRectCallout">
            <a:avLst>
              <a:gd name="adj1" fmla="val 89224"/>
              <a:gd name="adj2" fmla="val 72858"/>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Anomaly Detection</a:t>
            </a:r>
          </a:p>
        </p:txBody>
      </p:sp>
      <p:sp>
        <p:nvSpPr>
          <p:cNvPr id="54" name="Speech Bubble: Rectangle 53">
            <a:extLst>
              <a:ext uri="{FF2B5EF4-FFF2-40B4-BE49-F238E27FC236}">
                <a16:creationId xmlns:a16="http://schemas.microsoft.com/office/drawing/2014/main" id="{7BF7327B-AEFF-4A10-8969-68816089343E}"/>
              </a:ext>
            </a:extLst>
          </p:cNvPr>
          <p:cNvSpPr/>
          <p:nvPr/>
        </p:nvSpPr>
        <p:spPr bwMode="gray">
          <a:xfrm>
            <a:off x="7549059" y="1761047"/>
            <a:ext cx="1865743" cy="477664"/>
          </a:xfrm>
          <a:prstGeom prst="wedgeRectCallout">
            <a:avLst>
              <a:gd name="adj1" fmla="val 64813"/>
              <a:gd name="adj2" fmla="val 109150"/>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IETF vendor, operator and university colaboration</a:t>
            </a:r>
          </a:p>
        </p:txBody>
      </p:sp>
      <p:sp>
        <p:nvSpPr>
          <p:cNvPr id="55" name="Speech Bubble: Rectangle 54">
            <a:extLst>
              <a:ext uri="{FF2B5EF4-FFF2-40B4-BE49-F238E27FC236}">
                <a16:creationId xmlns:a16="http://schemas.microsoft.com/office/drawing/2014/main" id="{96E36A75-E915-422B-9210-B54D78F083F8}"/>
              </a:ext>
            </a:extLst>
          </p:cNvPr>
          <p:cNvSpPr/>
          <p:nvPr/>
        </p:nvSpPr>
        <p:spPr bwMode="gray">
          <a:xfrm>
            <a:off x="6273609" y="3617435"/>
            <a:ext cx="1635786" cy="358523"/>
          </a:xfrm>
          <a:prstGeom prst="wedgeRectCallout">
            <a:avLst>
              <a:gd name="adj1" fmla="val 95861"/>
              <a:gd name="adj2" fmla="val 71210"/>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Network Visualization</a:t>
            </a:r>
          </a:p>
        </p:txBody>
      </p:sp>
      <p:sp>
        <p:nvSpPr>
          <p:cNvPr id="30" name="Title 7">
            <a:extLst>
              <a:ext uri="{FF2B5EF4-FFF2-40B4-BE49-F238E27FC236}">
                <a16:creationId xmlns:a16="http://schemas.microsoft.com/office/drawing/2014/main" id="{9E026CB9-46E6-44A8-8B80-A02CE0874568}"/>
              </a:ext>
            </a:extLst>
          </p:cNvPr>
          <p:cNvSpPr txBox="1">
            <a:spLocks/>
          </p:cNvSpPr>
          <p:nvPr/>
        </p:nvSpPr>
        <p:spPr>
          <a:xfrm>
            <a:off x="1027998" y="332656"/>
            <a:ext cx="9279784" cy="720000"/>
          </a:xfrm>
          <a:prstGeom prst="rect">
            <a:avLst/>
          </a:prstGeom>
        </p:spPr>
        <p:txBody>
          <a:bodyPr/>
          <a:lst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a:lstStyle>
          <a:p>
            <a:r>
              <a:rPr lang="en-US" dirty="0"/>
              <a:t>Network Analytics Transforms Swisscom DevOps Mindset</a:t>
            </a:r>
            <a:br>
              <a:rPr lang="en-US" dirty="0"/>
            </a:br>
            <a:r>
              <a:rPr lang="en-US" b="0" dirty="0">
                <a:solidFill>
                  <a:schemeClr val="bg1">
                    <a:lumMod val="65000"/>
                  </a:schemeClr>
                </a:solidFill>
              </a:rPr>
              <a:t>From device monitoring to network analytics with closed loop operation</a:t>
            </a:r>
          </a:p>
        </p:txBody>
      </p:sp>
      <p:sp>
        <p:nvSpPr>
          <p:cNvPr id="33" name="Titel 11">
            <a:extLst>
              <a:ext uri="{FF2B5EF4-FFF2-40B4-BE49-F238E27FC236}">
                <a16:creationId xmlns:a16="http://schemas.microsoft.com/office/drawing/2014/main" id="{9E216A67-6DB1-4AAB-9944-5B008A9CAC63}"/>
              </a:ext>
            </a:extLst>
          </p:cNvPr>
          <p:cNvSpPr txBox="1">
            <a:spLocks/>
          </p:cNvSpPr>
          <p:nvPr/>
        </p:nvSpPr>
        <p:spPr bwMode="black">
          <a:xfrm>
            <a:off x="199970" y="4522039"/>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1</a:t>
            </a:r>
          </a:p>
        </p:txBody>
      </p:sp>
      <p:sp>
        <p:nvSpPr>
          <p:cNvPr id="34" name="Inhaltsplatzhalter 2">
            <a:extLst>
              <a:ext uri="{FF2B5EF4-FFF2-40B4-BE49-F238E27FC236}">
                <a16:creationId xmlns:a16="http://schemas.microsoft.com/office/drawing/2014/main" id="{13694E0B-A0DB-4230-8CD5-81BE52F083F2}"/>
              </a:ext>
            </a:extLst>
          </p:cNvPr>
          <p:cNvSpPr txBox="1">
            <a:spLocks/>
          </p:cNvSpPr>
          <p:nvPr/>
        </p:nvSpPr>
        <p:spPr bwMode="black">
          <a:xfrm>
            <a:off x="1991447" y="4487411"/>
            <a:ext cx="3350087"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Taking over end to end Daisy Chain Responsibility</a:t>
            </a:r>
            <a:br>
              <a:rPr lang="en-US" sz="1200" dirty="0"/>
            </a:br>
            <a:r>
              <a:rPr lang="en-US" sz="1200" dirty="0"/>
              <a:t>215 active users. 40 platforms. 2700 nodes. 20'000'000 metrics per second. </a:t>
            </a:r>
          </a:p>
        </p:txBody>
      </p:sp>
      <p:cxnSp>
        <p:nvCxnSpPr>
          <p:cNvPr id="36" name="Straight Connector 35">
            <a:extLst>
              <a:ext uri="{FF2B5EF4-FFF2-40B4-BE49-F238E27FC236}">
                <a16:creationId xmlns:a16="http://schemas.microsoft.com/office/drawing/2014/main" id="{9479A578-718A-4BD3-BF4D-8BD99D98CC9B}"/>
              </a:ext>
            </a:extLst>
          </p:cNvPr>
          <p:cNvCxnSpPr>
            <a:cxnSpLocks/>
          </p:cNvCxnSpPr>
          <p:nvPr/>
        </p:nvCxnSpPr>
        <p:spPr bwMode="gray">
          <a:xfrm>
            <a:off x="1728814" y="1444335"/>
            <a:ext cx="0" cy="5080290"/>
          </a:xfrm>
          <a:prstGeom prst="line">
            <a:avLst/>
          </a:prstGeom>
          <a:ln w="57150" cap="rnd">
            <a:gradFill>
              <a:gsLst>
                <a:gs pos="3000">
                  <a:schemeClr val="tx2">
                    <a:lumMod val="20000"/>
                    <a:lumOff val="80000"/>
                  </a:schemeClr>
                </a:gs>
                <a:gs pos="100000">
                  <a:schemeClr val="tx2">
                    <a:lumMod val="60000"/>
                    <a:lumOff val="4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9" name="Inhaltsplatzhalter 2">
            <a:extLst>
              <a:ext uri="{FF2B5EF4-FFF2-40B4-BE49-F238E27FC236}">
                <a16:creationId xmlns:a16="http://schemas.microsoft.com/office/drawing/2014/main" id="{9C86EABD-DE91-45D7-885D-36F7E96B558A}"/>
              </a:ext>
            </a:extLst>
          </p:cNvPr>
          <p:cNvSpPr txBox="1">
            <a:spLocks/>
          </p:cNvSpPr>
          <p:nvPr/>
        </p:nvSpPr>
        <p:spPr bwMode="black">
          <a:xfrm>
            <a:off x="6096000" y="4730124"/>
            <a:ext cx="6028180" cy="1795219"/>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spcBef>
                <a:spcPct val="20000"/>
              </a:spcBef>
              <a:buClr>
                <a:schemeClr val="accent2"/>
              </a:buClr>
            </a:pPr>
            <a:r>
              <a:rPr lang="en-US" sz="1800" b="1" dirty="0"/>
              <a:t>Key Points</a:t>
            </a:r>
          </a:p>
          <a:p>
            <a:pPr marL="182563" lvl="1" indent="-182563">
              <a:spcBef>
                <a:spcPct val="20000"/>
              </a:spcBef>
              <a:spcAft>
                <a:spcPts val="300"/>
              </a:spcAft>
              <a:buClr>
                <a:schemeClr val="accent2"/>
              </a:buClr>
              <a:buFont typeface="TheSans Swisscom" pitchFamily="34" charset="0"/>
              <a:buChar char="&gt;"/>
            </a:pPr>
            <a:r>
              <a:rPr lang="en-US" sz="1200" dirty="0"/>
              <a:t>From bottom up </a:t>
            </a:r>
            <a:r>
              <a:rPr lang="en-US" sz="1200" b="1" dirty="0"/>
              <a:t>to mainstream</a:t>
            </a:r>
            <a:r>
              <a:rPr lang="en-US" sz="1200" dirty="0"/>
              <a:t>. From IETF </a:t>
            </a:r>
            <a:r>
              <a:rPr lang="en-US" sz="1200" b="1" dirty="0"/>
              <a:t>to Swisscom DevOps teams</a:t>
            </a:r>
            <a:r>
              <a:rPr lang="en-US" sz="1200" dirty="0"/>
              <a:t>.</a:t>
            </a:r>
          </a:p>
          <a:p>
            <a:pPr marL="182563" lvl="1" indent="-182563">
              <a:spcBef>
                <a:spcPct val="20000"/>
              </a:spcBef>
              <a:spcAft>
                <a:spcPts val="300"/>
              </a:spcAft>
              <a:buClr>
                <a:schemeClr val="accent2"/>
              </a:buClr>
              <a:buFont typeface="TheSans Swisscom" pitchFamily="34" charset="0"/>
              <a:buChar char="&gt;"/>
            </a:pPr>
            <a:r>
              <a:rPr lang="en-US" sz="1200" dirty="0"/>
              <a:t>From network verification and troubleshooting </a:t>
            </a:r>
            <a:r>
              <a:rPr lang="en-US" sz="1200" b="1" dirty="0"/>
              <a:t>to visualization </a:t>
            </a:r>
            <a:br>
              <a:rPr lang="en-US" sz="1200" b="1" dirty="0"/>
            </a:br>
            <a:r>
              <a:rPr lang="en-US" sz="1200" b="1" dirty="0"/>
              <a:t>with Anomaly Detection and Network SLI/SLO</a:t>
            </a:r>
          </a:p>
          <a:p>
            <a:pPr marL="182563" lvl="1" indent="-182563">
              <a:spcBef>
                <a:spcPct val="20000"/>
              </a:spcBef>
              <a:spcAft>
                <a:spcPts val="300"/>
              </a:spcAft>
              <a:buClr>
                <a:schemeClr val="accent2"/>
              </a:buClr>
              <a:buFont typeface="TheSans Swisscom" pitchFamily="34" charset="0"/>
              <a:buChar char="&gt;"/>
            </a:pPr>
            <a:r>
              <a:rPr lang="en-US" sz="1200" dirty="0"/>
              <a:t>From capacity management </a:t>
            </a:r>
            <a:r>
              <a:rPr lang="en-US" sz="1200" b="1" dirty="0"/>
              <a:t>to trend detection</a:t>
            </a:r>
          </a:p>
          <a:p>
            <a:pPr marL="182563" lvl="1" indent="-182563">
              <a:spcBef>
                <a:spcPct val="20000"/>
              </a:spcBef>
              <a:spcAft>
                <a:spcPts val="300"/>
              </a:spcAft>
              <a:buClr>
                <a:schemeClr val="accent2"/>
              </a:buClr>
              <a:buFont typeface="TheSans Swisscom" pitchFamily="34" charset="0"/>
              <a:buChar char="&gt;"/>
            </a:pPr>
            <a:r>
              <a:rPr lang="en-US" sz="1200" dirty="0"/>
              <a:t>From network automation </a:t>
            </a:r>
            <a:r>
              <a:rPr lang="en-US" sz="1200" b="1" dirty="0"/>
              <a:t>to closed loop operation</a:t>
            </a:r>
          </a:p>
          <a:p>
            <a:pPr marL="182563" lvl="1" indent="-182563">
              <a:spcBef>
                <a:spcPct val="20000"/>
              </a:spcBef>
              <a:spcAft>
                <a:spcPts val="300"/>
              </a:spcAft>
              <a:buClr>
                <a:schemeClr val="accent2"/>
              </a:buClr>
              <a:buFont typeface="TheSans Swisscom" pitchFamily="34" charset="0"/>
              <a:buChar char="&gt;"/>
            </a:pPr>
            <a:r>
              <a:rPr lang="en-US" sz="1200" b="1" dirty="0"/>
              <a:t>MPLS-SR data plane visibility since 2021, SRv6 since 2023.</a:t>
            </a:r>
          </a:p>
        </p:txBody>
      </p:sp>
      <p:pic>
        <p:nvPicPr>
          <p:cNvPr id="42" name="Grafik 185">
            <a:extLst>
              <a:ext uri="{FF2B5EF4-FFF2-40B4-BE49-F238E27FC236}">
                <a16:creationId xmlns:a16="http://schemas.microsoft.com/office/drawing/2014/main" id="{A5D5865F-644A-490F-A6AA-DB515C9649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05619" y="3439789"/>
            <a:ext cx="409069" cy="409069"/>
          </a:xfrm>
          <a:prstGeom prst="rect">
            <a:avLst/>
          </a:prstGeom>
        </p:spPr>
      </p:pic>
      <p:pic>
        <p:nvPicPr>
          <p:cNvPr id="48" name="Grafik 317">
            <a:extLst>
              <a:ext uri="{FF2B5EF4-FFF2-40B4-BE49-F238E27FC236}">
                <a16:creationId xmlns:a16="http://schemas.microsoft.com/office/drawing/2014/main" id="{5237BC0D-AA32-41E5-B34C-EDD871DE015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70886" y="3476216"/>
            <a:ext cx="409069" cy="409069"/>
          </a:xfrm>
          <a:prstGeom prst="rect">
            <a:avLst/>
          </a:prstGeom>
        </p:spPr>
      </p:pic>
      <p:pic>
        <p:nvPicPr>
          <p:cNvPr id="49" name="Grafik 8">
            <a:extLst>
              <a:ext uri="{FF2B5EF4-FFF2-40B4-BE49-F238E27FC236}">
                <a16:creationId xmlns:a16="http://schemas.microsoft.com/office/drawing/2014/main" id="{A3E83390-BBAB-48C7-80E4-8DCC454BEAA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658032" y="3483177"/>
            <a:ext cx="409069" cy="409069"/>
          </a:xfrm>
          <a:prstGeom prst="rect">
            <a:avLst/>
          </a:prstGeom>
        </p:spPr>
      </p:pic>
      <p:pic>
        <p:nvPicPr>
          <p:cNvPr id="56" name="Graphic 55">
            <a:extLst>
              <a:ext uri="{FF2B5EF4-FFF2-40B4-BE49-F238E27FC236}">
                <a16:creationId xmlns:a16="http://schemas.microsoft.com/office/drawing/2014/main" id="{E293AB02-0D25-4C37-8045-42B002612A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26963" y="3429000"/>
            <a:ext cx="410400" cy="410400"/>
          </a:xfrm>
          <a:prstGeom prst="rect">
            <a:avLst/>
          </a:prstGeom>
        </p:spPr>
      </p:pic>
      <p:sp>
        <p:nvSpPr>
          <p:cNvPr id="37" name="Speech Bubble: Rectangle 36">
            <a:extLst>
              <a:ext uri="{FF2B5EF4-FFF2-40B4-BE49-F238E27FC236}">
                <a16:creationId xmlns:a16="http://schemas.microsoft.com/office/drawing/2014/main" id="{0BC39990-7FA4-455F-A7F1-DEEE1F6363E1}"/>
              </a:ext>
            </a:extLst>
          </p:cNvPr>
          <p:cNvSpPr/>
          <p:nvPr/>
        </p:nvSpPr>
        <p:spPr bwMode="gray">
          <a:xfrm>
            <a:off x="6441974" y="3235102"/>
            <a:ext cx="1865743" cy="336389"/>
          </a:xfrm>
          <a:prstGeom prst="wedgeRectCallout">
            <a:avLst>
              <a:gd name="adj1" fmla="val 84119"/>
              <a:gd name="adj2" fmla="val 84184"/>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Network SLI/SLO</a:t>
            </a:r>
          </a:p>
        </p:txBody>
      </p:sp>
      <p:sp>
        <p:nvSpPr>
          <p:cNvPr id="38" name="Titel 11">
            <a:extLst>
              <a:ext uri="{FF2B5EF4-FFF2-40B4-BE49-F238E27FC236}">
                <a16:creationId xmlns:a16="http://schemas.microsoft.com/office/drawing/2014/main" id="{889A024B-AD2F-4B6E-AEBB-47CF9E22539C}"/>
              </a:ext>
            </a:extLst>
          </p:cNvPr>
          <p:cNvSpPr txBox="1">
            <a:spLocks/>
          </p:cNvSpPr>
          <p:nvPr/>
        </p:nvSpPr>
        <p:spPr bwMode="black">
          <a:xfrm>
            <a:off x="199970" y="5191660"/>
            <a:ext cx="1152032" cy="611525"/>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2</a:t>
            </a:r>
          </a:p>
        </p:txBody>
      </p:sp>
      <p:sp>
        <p:nvSpPr>
          <p:cNvPr id="40" name="Inhaltsplatzhalter 2">
            <a:extLst>
              <a:ext uri="{FF2B5EF4-FFF2-40B4-BE49-F238E27FC236}">
                <a16:creationId xmlns:a16="http://schemas.microsoft.com/office/drawing/2014/main" id="{55A82DA0-EBFB-4830-8E68-201886B4EEB5}"/>
              </a:ext>
            </a:extLst>
          </p:cNvPr>
          <p:cNvSpPr txBox="1">
            <a:spLocks/>
          </p:cNvSpPr>
          <p:nvPr/>
        </p:nvSpPr>
        <p:spPr bwMode="black">
          <a:xfrm>
            <a:off x="1991448" y="5157032"/>
            <a:ext cx="3312368" cy="646154"/>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L3 VPN Anomaly Detection Development started</a:t>
            </a:r>
            <a:br>
              <a:rPr lang="en-US" sz="1200" dirty="0"/>
            </a:br>
            <a:r>
              <a:rPr lang="en-US" sz="1200" dirty="0"/>
              <a:t>400 active users. 47 platforms. 7000 nodes. 25'000'000 metrics per second.</a:t>
            </a:r>
          </a:p>
        </p:txBody>
      </p:sp>
      <p:sp>
        <p:nvSpPr>
          <p:cNvPr id="2" name="Titel 11">
            <a:extLst>
              <a:ext uri="{FF2B5EF4-FFF2-40B4-BE49-F238E27FC236}">
                <a16:creationId xmlns:a16="http://schemas.microsoft.com/office/drawing/2014/main" id="{65FE651F-4A8A-4D36-9466-962C3F0C1D08}"/>
              </a:ext>
            </a:extLst>
          </p:cNvPr>
          <p:cNvSpPr txBox="1">
            <a:spLocks/>
          </p:cNvSpPr>
          <p:nvPr/>
        </p:nvSpPr>
        <p:spPr bwMode="black">
          <a:xfrm>
            <a:off x="216741" y="5857141"/>
            <a:ext cx="1152032" cy="611525"/>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3</a:t>
            </a:r>
          </a:p>
        </p:txBody>
      </p:sp>
      <p:sp>
        <p:nvSpPr>
          <p:cNvPr id="3" name="Inhaltsplatzhalter 2">
            <a:extLst>
              <a:ext uri="{FF2B5EF4-FFF2-40B4-BE49-F238E27FC236}">
                <a16:creationId xmlns:a16="http://schemas.microsoft.com/office/drawing/2014/main" id="{D4D7583D-9549-E331-0879-8F7005732F2F}"/>
              </a:ext>
            </a:extLst>
          </p:cNvPr>
          <p:cNvSpPr txBox="1">
            <a:spLocks/>
          </p:cNvSpPr>
          <p:nvPr/>
        </p:nvSpPr>
        <p:spPr bwMode="black">
          <a:xfrm>
            <a:off x="1982822" y="5822512"/>
            <a:ext cx="3312368" cy="646154"/>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L3 VPN Anomaly Detection PoC started, </a:t>
            </a:r>
            <a:br>
              <a:rPr lang="en-US" sz="1200" b="1" dirty="0"/>
            </a:br>
            <a:r>
              <a:rPr lang="en-US" sz="1200" b="1" dirty="0"/>
              <a:t>First SRv6 network onboarded</a:t>
            </a:r>
            <a:br>
              <a:rPr lang="en-US" sz="1200" dirty="0"/>
            </a:br>
            <a:r>
              <a:rPr lang="en-US" sz="1200" dirty="0"/>
              <a:t>500 active users. 51platforms. 25000 nodes. 30'000'000 metrics per second.</a:t>
            </a:r>
          </a:p>
        </p:txBody>
      </p:sp>
    </p:spTree>
    <p:extLst>
      <p:ext uri="{BB962C8B-B14F-4D97-AF65-F5344CB8AC3E}">
        <p14:creationId xmlns:p14="http://schemas.microsoft.com/office/powerpoint/2010/main" val="3059374615"/>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199454" y="5015486"/>
            <a:ext cx="6830121" cy="1366983"/>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lvl="1" indent="0">
              <a:buNone/>
            </a:pPr>
            <a:r>
              <a:rPr lang="en-US" sz="1400" b="1" dirty="0"/>
              <a:t>Export of MPLS Segment Routing Label Type Information in IPFIX</a:t>
            </a:r>
            <a:br>
              <a:rPr lang="de-CH" sz="1400" b="1" dirty="0"/>
            </a:br>
            <a:r>
              <a:rPr lang="de-CH" sz="1400" dirty="0">
                <a:hlinkClick r:id="rId3"/>
              </a:rPr>
              <a:t>https://datatracker.ietf.org/doc/html/rfc9160</a:t>
            </a:r>
            <a:endParaRPr lang="en-US" sz="1400" b="1" dirty="0"/>
          </a:p>
          <a:p>
            <a:pPr marL="0" lvl="1" indent="0">
              <a:buNone/>
            </a:pPr>
            <a:r>
              <a:rPr lang="en-US" sz="1400" b="1" dirty="0"/>
              <a:t>Export of Segment Routing IPv6 Information in IPFIX</a:t>
            </a:r>
            <a:br>
              <a:rPr lang="en-US" sz="1400" b="1" dirty="0"/>
            </a:br>
            <a:r>
              <a:rPr lang="en-US" sz="1400" dirty="0">
                <a:solidFill>
                  <a:schemeClr val="bg2"/>
                </a:solidFill>
                <a:hlinkClick r:id="rId4"/>
              </a:rPr>
              <a:t>https://datatracker.ietf.org/doc/html/rfc9487</a:t>
            </a:r>
            <a:endParaRPr lang="en-US" sz="1400" dirty="0">
              <a:solidFill>
                <a:schemeClr val="bg2"/>
              </a:solidFill>
            </a:endParaRPr>
          </a:p>
          <a:p>
            <a:pPr marL="0" lvl="1" indent="0">
              <a:buNone/>
            </a:pPr>
            <a:r>
              <a:rPr lang="en-US" sz="1400" b="1" dirty="0"/>
              <a:t>Export of Forwarding Path Delay in IPFIX</a:t>
            </a:r>
            <a:br>
              <a:rPr lang="en-US" sz="1400" b="1" dirty="0"/>
            </a:br>
            <a:r>
              <a:rPr lang="en-US" sz="1400" dirty="0">
                <a:hlinkClick r:id="rId5"/>
              </a:rPr>
              <a:t>https://datatracker.ietf.org/doc/html/draft-ietf-opsawg-ipfix-on-path-telemetry</a:t>
            </a:r>
            <a:endParaRPr lang="en-US" sz="1400" dirty="0"/>
          </a:p>
        </p:txBody>
      </p:sp>
      <p:sp>
        <p:nvSpPr>
          <p:cNvPr id="6" name="Titel 5"/>
          <p:cNvSpPr>
            <a:spLocks noGrp="1"/>
          </p:cNvSpPr>
          <p:nvPr>
            <p:ph type="title"/>
          </p:nvPr>
        </p:nvSpPr>
        <p:spPr>
          <a:xfrm>
            <a:off x="1199454" y="332656"/>
            <a:ext cx="5532271" cy="720000"/>
          </a:xfrm>
        </p:spPr>
        <p:txBody>
          <a:bodyPr/>
          <a:lstStyle/>
          <a:p>
            <a:r>
              <a:rPr lang="en-US" dirty="0"/>
              <a:t>IPFIX Covering Segment Routing</a:t>
            </a:r>
            <a:br>
              <a:rPr lang="en-US" dirty="0"/>
            </a:br>
            <a:r>
              <a:rPr lang="en-US" b="0" dirty="0">
                <a:solidFill>
                  <a:schemeClr val="bg1">
                    <a:lumMod val="65000"/>
                  </a:schemeClr>
                </a:solidFill>
              </a:rPr>
              <a:t>For MPLS-SR, SRv6 and On-path Delay</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199454" y="1724568"/>
            <a:ext cx="7219105" cy="1942557"/>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sz="1400" b="1" dirty="0"/>
              <a:t>SRv6 is commonly standardized, network vendors implementations are available and network operators are at various stages in their deployments,  missing data-plane visibility though.</a:t>
            </a:r>
          </a:p>
          <a:p>
            <a:r>
              <a:rPr lang="en-US" sz="1400" b="1" dirty="0"/>
              <a:t>Segment Routing coverage in IPFIX brings visibility for:</a:t>
            </a:r>
          </a:p>
          <a:p>
            <a:pPr marL="182563" lvl="1" indent="-182563">
              <a:spcBef>
                <a:spcPts val="600"/>
              </a:spcBef>
              <a:buClr>
                <a:schemeClr val="accent2"/>
              </a:buClr>
              <a:buFont typeface="TheSans Swisscom" pitchFamily="34" charset="0"/>
              <a:buChar char="&gt;"/>
            </a:pPr>
            <a:r>
              <a:rPr lang="en-US" sz="1400" dirty="0"/>
              <a:t>Which routing protocol provided the label or IPv6 Segment in the SR domain.</a:t>
            </a:r>
          </a:p>
          <a:p>
            <a:pPr marL="182563" lvl="1" indent="-182563">
              <a:spcBef>
                <a:spcPts val="600"/>
              </a:spcBef>
              <a:buClr>
                <a:schemeClr val="accent2"/>
              </a:buClr>
              <a:buFont typeface="TheSans Swisscom" pitchFamily="34" charset="0"/>
              <a:buChar char="&gt;"/>
            </a:pPr>
            <a:r>
              <a:rPr lang="en-US" sz="1400" dirty="0"/>
              <a:t>The active Segment where the packet is forwarded to in the SRv6 Domain.</a:t>
            </a:r>
          </a:p>
          <a:p>
            <a:pPr marL="182563" lvl="1" indent="-182563">
              <a:spcBef>
                <a:spcPts val="600"/>
              </a:spcBef>
              <a:buClr>
                <a:schemeClr val="accent2"/>
              </a:buClr>
              <a:buFont typeface="TheSans Swisscom" pitchFamily="34" charset="0"/>
              <a:buChar char="&gt;"/>
            </a:pPr>
            <a:r>
              <a:rPr lang="en-US" sz="1400" dirty="0"/>
              <a:t>The Segment List where the packet is going to be forwarded throughout the SRv6 Domain.</a:t>
            </a:r>
          </a:p>
          <a:p>
            <a:pPr marL="182563" lvl="1" indent="-182563">
              <a:spcBef>
                <a:spcPts val="600"/>
              </a:spcBef>
              <a:buClr>
                <a:schemeClr val="accent2"/>
              </a:buClr>
              <a:buFont typeface="TheSans Swisscom" pitchFamily="34" charset="0"/>
              <a:buChar char="&gt;"/>
            </a:pPr>
            <a:r>
              <a:rPr lang="en-US" sz="1400" dirty="0"/>
              <a:t>The Endpoint Behavior describing how the packet is being forwarded in the SRv6 Domain.</a:t>
            </a:r>
          </a:p>
          <a:p>
            <a:pPr marL="182563" lvl="1" indent="-182563">
              <a:spcBef>
                <a:spcPts val="600"/>
              </a:spcBef>
              <a:buClr>
                <a:schemeClr val="accent2"/>
              </a:buClr>
              <a:buFont typeface="TheSans Swisscom" pitchFamily="34" charset="0"/>
              <a:buChar char="&gt;"/>
            </a:pPr>
            <a:r>
              <a:rPr lang="en-US" sz="1400" dirty="0"/>
              <a:t>The Min, Max and Average On-path delay at each hop in the SR domain.</a:t>
            </a:r>
          </a:p>
        </p:txBody>
      </p:sp>
      <p:pic>
        <p:nvPicPr>
          <p:cNvPr id="3" name="Picture 2">
            <a:extLst>
              <a:ext uri="{FF2B5EF4-FFF2-40B4-BE49-F238E27FC236}">
                <a16:creationId xmlns:a16="http://schemas.microsoft.com/office/drawing/2014/main" id="{B3BA6FBC-4833-47CC-AF73-D0C43065CD6A}"/>
              </a:ext>
            </a:extLst>
          </p:cNvPr>
          <p:cNvPicPr>
            <a:picLocks noChangeAspect="1"/>
          </p:cNvPicPr>
          <p:nvPr/>
        </p:nvPicPr>
        <p:blipFill>
          <a:blip r:embed="rId6"/>
          <a:stretch>
            <a:fillRect/>
          </a:stretch>
        </p:blipFill>
        <p:spPr>
          <a:xfrm>
            <a:off x="8418559" y="1142018"/>
            <a:ext cx="3601991" cy="5050214"/>
          </a:xfrm>
          <a:prstGeom prst="rect">
            <a:avLst/>
          </a:prstGeom>
        </p:spPr>
      </p:pic>
    </p:spTree>
    <p:extLst>
      <p:ext uri="{BB962C8B-B14F-4D97-AF65-F5344CB8AC3E}">
        <p14:creationId xmlns:p14="http://schemas.microsoft.com/office/powerpoint/2010/main" val="16865088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Segment Routing IPv6 Encapsulation</a:t>
            </a:r>
            <a:br>
              <a:rPr lang="en-US" dirty="0"/>
            </a:br>
            <a:r>
              <a:rPr lang="en-US" b="0" dirty="0">
                <a:solidFill>
                  <a:schemeClr val="bg1">
                    <a:lumMod val="65000"/>
                  </a:schemeClr>
                </a:solidFill>
              </a:rPr>
              <a:t>3 headers, one more then MPLS</a:t>
            </a: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867524" y="5019677"/>
            <a:ext cx="4667251" cy="1704973"/>
          </a:xfrm>
        </p:spPr>
        <p:txBody>
          <a:bodyPr/>
          <a:lstStyle/>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sz="2400" b="1" dirty="0">
                <a:solidFill>
                  <a:prstClr val="black"/>
                </a:solidFill>
                <a:latin typeface="+mj-lt"/>
              </a:rPr>
              <a:t>Customer data-plane</a:t>
            </a:r>
            <a:br>
              <a:rPr lang="en-US" b="1" dirty="0">
                <a:solidFill>
                  <a:prstClr val="black"/>
                </a:solidFill>
                <a:latin typeface="+mj-lt"/>
              </a:rPr>
            </a:br>
            <a:br>
              <a:rPr lang="en-US" sz="1800" b="1" dirty="0">
                <a:solidFill>
                  <a:prstClr val="black"/>
                </a:solidFill>
                <a:latin typeface="+mj-lt"/>
              </a:rPr>
            </a:br>
            <a:r>
              <a:rPr lang="en-US" sz="1800" dirty="0">
                <a:solidFill>
                  <a:prstClr val="black"/>
                </a:solidFill>
                <a:latin typeface="+mj-lt"/>
              </a:rPr>
              <a:t>This is </a:t>
            </a:r>
            <a:r>
              <a:rPr lang="en-US" sz="1800" dirty="0">
                <a:solidFill>
                  <a:srgbClr val="00B050"/>
                </a:solidFill>
                <a:latin typeface="+mj-lt"/>
              </a:rPr>
              <a:t>what we receive from the customer </a:t>
            </a:r>
            <a:r>
              <a:rPr lang="en-US" sz="1800" dirty="0">
                <a:solidFill>
                  <a:prstClr val="black"/>
                </a:solidFill>
                <a:latin typeface="+mj-lt"/>
              </a:rPr>
              <a:t>and encapsulate for transport through the SRv6 core.</a:t>
            </a:r>
          </a:p>
          <a:p>
            <a:pPr marL="182880" marR="0" lvl="0" indent="-182880" algn="l" defTabSz="914400" rtl="0" eaLnBrk="1" fontAlgn="auto" latinLnBrk="0" hangingPunct="1">
              <a:lnSpc>
                <a:spcPct val="90000"/>
              </a:lnSpc>
              <a:spcBef>
                <a:spcPts val="300"/>
              </a:spcBef>
              <a:spcAft>
                <a:spcPts val="300"/>
              </a:spcAft>
              <a:buClr>
                <a:schemeClr val="accent2"/>
              </a:buClr>
              <a:buSzTx/>
              <a:buFont typeface="TheSans Swisscom" panose="020B0603020202020204" pitchFamily="34" charset="0"/>
              <a:buChar char="&gt;"/>
              <a:tabLst/>
              <a:defRPr/>
            </a:pPr>
            <a:endParaRPr lang="en-US" sz="1700" dirty="0">
              <a:solidFill>
                <a:prstClr val="black"/>
              </a:solidFill>
              <a:latin typeface="Calibri" panose="020F0502020204030204"/>
            </a:endParaRPr>
          </a:p>
        </p:txBody>
      </p:sp>
      <p:pic>
        <p:nvPicPr>
          <p:cNvPr id="7" name="Picture 6">
            <a:extLst>
              <a:ext uri="{FF2B5EF4-FFF2-40B4-BE49-F238E27FC236}">
                <a16:creationId xmlns:a16="http://schemas.microsoft.com/office/drawing/2014/main" id="{294010DA-99EA-4348-B94F-0BB72DCB0DCC}"/>
              </a:ext>
            </a:extLst>
          </p:cNvPr>
          <p:cNvPicPr>
            <a:picLocks noChangeAspect="1"/>
          </p:cNvPicPr>
          <p:nvPr/>
        </p:nvPicPr>
        <p:blipFill>
          <a:blip r:embed="rId3"/>
          <a:stretch>
            <a:fillRect/>
          </a:stretch>
        </p:blipFill>
        <p:spPr>
          <a:xfrm>
            <a:off x="1199456" y="1291149"/>
            <a:ext cx="4462077" cy="5433501"/>
          </a:xfrm>
          <a:prstGeom prst="rect">
            <a:avLst/>
          </a:prstGeom>
        </p:spPr>
      </p:pic>
      <p:sp>
        <p:nvSpPr>
          <p:cNvPr id="9" name="Right Brace 8">
            <a:extLst>
              <a:ext uri="{FF2B5EF4-FFF2-40B4-BE49-F238E27FC236}">
                <a16:creationId xmlns:a16="http://schemas.microsoft.com/office/drawing/2014/main" id="{BC009F02-76C4-422A-9F22-01BD1FC98350}"/>
              </a:ext>
            </a:extLst>
          </p:cNvPr>
          <p:cNvSpPr/>
          <p:nvPr/>
        </p:nvSpPr>
        <p:spPr bwMode="gray">
          <a:xfrm>
            <a:off x="5810249" y="4943474"/>
            <a:ext cx="720219" cy="1704975"/>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0" name="Right Brace 9">
            <a:extLst>
              <a:ext uri="{FF2B5EF4-FFF2-40B4-BE49-F238E27FC236}">
                <a16:creationId xmlns:a16="http://schemas.microsoft.com/office/drawing/2014/main" id="{1D13E5A4-6C4B-4308-956B-A1FA83262342}"/>
              </a:ext>
            </a:extLst>
          </p:cNvPr>
          <p:cNvSpPr/>
          <p:nvPr/>
        </p:nvSpPr>
        <p:spPr bwMode="gray">
          <a:xfrm>
            <a:off x="5800725" y="2047875"/>
            <a:ext cx="729744" cy="2800349"/>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1" name="Content Placeholder 1">
            <a:extLst>
              <a:ext uri="{FF2B5EF4-FFF2-40B4-BE49-F238E27FC236}">
                <a16:creationId xmlns:a16="http://schemas.microsoft.com/office/drawing/2014/main" id="{897CED71-E06A-4810-AC19-752BEC9DB4C6}"/>
              </a:ext>
            </a:extLst>
          </p:cNvPr>
          <p:cNvSpPr txBox="1">
            <a:spLocks/>
          </p:cNvSpPr>
          <p:nvPr/>
        </p:nvSpPr>
        <p:spPr bwMode="black">
          <a:xfrm>
            <a:off x="6867524" y="2047875"/>
            <a:ext cx="4667251" cy="272414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Provid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Divided into an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IPv6</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Segment Routing Header</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t>
            </a: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e IPv6 header shows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from which PE to which next-hop</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it is being forwarded. The Segment Routing Header the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list of segments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packet needs to pass through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points to the active segment</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295E37DE-E562-4F30-99FD-96404977513D}"/>
              </a:ext>
            </a:extLst>
          </p:cNvPr>
          <p:cNvSpPr/>
          <p:nvPr/>
        </p:nvSpPr>
        <p:spPr bwMode="gray">
          <a:xfrm>
            <a:off x="1461977" y="3141921"/>
            <a:ext cx="1855381" cy="249865"/>
          </a:xfrm>
          <a:prstGeom prst="rect">
            <a:avLst/>
          </a:prstGeom>
          <a:solidFill>
            <a:srgbClr val="FF0000">
              <a:alpha val="20000"/>
            </a:srgbClr>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3" name="Rectangle 12">
            <a:extLst>
              <a:ext uri="{FF2B5EF4-FFF2-40B4-BE49-F238E27FC236}">
                <a16:creationId xmlns:a16="http://schemas.microsoft.com/office/drawing/2014/main" id="{B957D800-1E82-4E0C-B5F8-A570DF7CBC38}"/>
              </a:ext>
            </a:extLst>
          </p:cNvPr>
          <p:cNvSpPr/>
          <p:nvPr/>
        </p:nvSpPr>
        <p:spPr bwMode="gray">
          <a:xfrm>
            <a:off x="1461977" y="4437321"/>
            <a:ext cx="1855381" cy="458972"/>
          </a:xfrm>
          <a:prstGeom prst="rect">
            <a:avLst/>
          </a:prstGeom>
          <a:solidFill>
            <a:srgbClr val="FFC000">
              <a:alpha val="20000"/>
            </a:srgbClr>
          </a:soli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4" name="Rectangle 13">
            <a:extLst>
              <a:ext uri="{FF2B5EF4-FFF2-40B4-BE49-F238E27FC236}">
                <a16:creationId xmlns:a16="http://schemas.microsoft.com/office/drawing/2014/main" id="{8BF960B2-4413-4A45-A35F-A0798390F0D6}"/>
              </a:ext>
            </a:extLst>
          </p:cNvPr>
          <p:cNvSpPr/>
          <p:nvPr/>
        </p:nvSpPr>
        <p:spPr bwMode="gray">
          <a:xfrm>
            <a:off x="1461976" y="3965944"/>
            <a:ext cx="1855381" cy="138224"/>
          </a:xfrm>
          <a:prstGeom prst="rect">
            <a:avLst/>
          </a:prstGeom>
          <a:solidFill>
            <a:srgbClr val="FFC000">
              <a:alpha val="20000"/>
            </a:srgbClr>
          </a:soli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5" name="Rectangle 14">
            <a:extLst>
              <a:ext uri="{FF2B5EF4-FFF2-40B4-BE49-F238E27FC236}">
                <a16:creationId xmlns:a16="http://schemas.microsoft.com/office/drawing/2014/main" id="{FFC97411-E33D-4826-9616-F547D84A1F2B}"/>
              </a:ext>
            </a:extLst>
          </p:cNvPr>
          <p:cNvSpPr/>
          <p:nvPr/>
        </p:nvSpPr>
        <p:spPr bwMode="gray">
          <a:xfrm>
            <a:off x="1461975" y="6275479"/>
            <a:ext cx="1855381" cy="249865"/>
          </a:xfrm>
          <a:prstGeom prst="rect">
            <a:avLst/>
          </a:prstGeom>
          <a:solidFill>
            <a:srgbClr val="00B050">
              <a:alpha val="20000"/>
            </a:srgbClr>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35606698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Monitoring L3 SRv6 VPN's with IPFIX and BGP Monitoring Protocol</a:t>
            </a:r>
            <a:br>
              <a:rPr lang="en-US" dirty="0"/>
            </a:br>
            <a:r>
              <a:rPr lang="en-US" b="0" dirty="0">
                <a:solidFill>
                  <a:schemeClr val="bg1">
                    <a:lumMod val="65000"/>
                  </a:schemeClr>
                </a:solidFill>
              </a:rPr>
              <a:t>From L3 VPN Inventory to Realtime Network Analytics</a:t>
            </a: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579281" y="1457720"/>
            <a:ext cx="5343525" cy="5059916"/>
          </a:xfrm>
        </p:spPr>
        <p:txBody>
          <a:bodyPr/>
          <a:lstStyle/>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dirty="0">
                <a:solidFill>
                  <a:prstClr val="black"/>
                </a:solidFill>
                <a:latin typeface="+mj-lt"/>
              </a:rPr>
              <a:t>From an inventory perspective, </a:t>
            </a:r>
            <a:r>
              <a:rPr lang="en-US" b="1" dirty="0">
                <a:solidFill>
                  <a:prstClr val="black"/>
                </a:solidFill>
                <a:latin typeface="+mj-lt"/>
              </a:rPr>
              <a:t>Connection Points are connected through Logical Connections</a:t>
            </a:r>
            <a:r>
              <a:rPr lang="en-US" dirty="0">
                <a:solidFill>
                  <a:prstClr val="black"/>
                </a:solidFill>
                <a:latin typeface="+mj-lt"/>
              </a:rPr>
              <a:t>.</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kumimoji="0" lang="en-US" b="1" i="0" u="none" strike="noStrike" kern="1200" cap="none" spc="0" normalizeH="0" baseline="0" noProof="0" dirty="0">
                <a:ln>
                  <a:noFill/>
                </a:ln>
                <a:solidFill>
                  <a:prstClr val="black"/>
                </a:solidFill>
                <a:effectLst/>
                <a:uLnTx/>
                <a:uFillTx/>
                <a:latin typeface="+mj-lt"/>
                <a:ea typeface="+mn-ea"/>
                <a:cs typeface="+mn-cs"/>
              </a:rPr>
              <a:t>From a BGP control-plane perspective, IPv4/6 unicast prefixes in VRF's are tagged with BGP standard communities. </a:t>
            </a:r>
          </a:p>
          <a:p>
            <a:pPr marL="362880" lvl="1" indent="-182880">
              <a:lnSpc>
                <a:spcPct val="90000"/>
              </a:lnSpc>
              <a:spcBef>
                <a:spcPts val="600"/>
              </a:spcBef>
              <a:spcAft>
                <a:spcPts val="600"/>
              </a:spcAft>
              <a:buClr>
                <a:schemeClr val="accent2"/>
              </a:buClr>
              <a:buFont typeface="TheSans Swisscom" panose="020B0603020202020204" pitchFamily="34" charset="0"/>
              <a:buChar char="&gt;"/>
              <a:defRPr/>
            </a:pPr>
            <a:r>
              <a:rPr lang="en-US" dirty="0">
                <a:solidFill>
                  <a:prstClr val="black"/>
                </a:solidFill>
                <a:latin typeface="+mj-lt"/>
              </a:rPr>
              <a:t>One BGP standard community to identify the Logical Connection. One BGP standard community to identify each Connection Point. </a:t>
            </a:r>
          </a:p>
          <a:p>
            <a:pPr marL="362880" lvl="1" indent="-182880">
              <a:lnSpc>
                <a:spcPct val="90000"/>
              </a:lnSpc>
              <a:spcBef>
                <a:spcPts val="600"/>
              </a:spcBef>
              <a:spcAft>
                <a:spcPts val="600"/>
              </a:spcAft>
              <a:buClr>
                <a:schemeClr val="accent2"/>
              </a:buClr>
              <a:buFont typeface="TheSans Swisscom" panose="020B0603020202020204" pitchFamily="34" charset="0"/>
              <a:buChar char="&gt;"/>
              <a:defRPr/>
            </a:pPr>
            <a:r>
              <a:rPr lang="en-US" dirty="0">
                <a:solidFill>
                  <a:prstClr val="black"/>
                </a:solidFill>
                <a:latin typeface="+mj-lt"/>
              </a:rPr>
              <a:t>When IPv4/6 prefixes are exported from VRF's, a BGP route-distinguisher, BGP extended community route-targets, </a:t>
            </a:r>
            <a:r>
              <a:rPr lang="en-US" dirty="0">
                <a:solidFill>
                  <a:srgbClr val="FF0000"/>
                </a:solidFill>
                <a:latin typeface="+mj-lt"/>
              </a:rPr>
              <a:t>a SRv6 VPN SID</a:t>
            </a:r>
            <a:r>
              <a:rPr lang="en-US" dirty="0">
                <a:solidFill>
                  <a:prstClr val="black"/>
                </a:solidFill>
                <a:latin typeface="+mj-lt"/>
              </a:rPr>
              <a:t> for the </a:t>
            </a:r>
            <a:r>
              <a:rPr lang="en-US" dirty="0">
                <a:solidFill>
                  <a:srgbClr val="FF0000"/>
                </a:solidFill>
                <a:latin typeface="+mj-lt"/>
              </a:rPr>
              <a:t>IPv6</a:t>
            </a:r>
            <a:r>
              <a:rPr lang="en-US" dirty="0">
                <a:solidFill>
                  <a:prstClr val="black"/>
                </a:solidFill>
                <a:latin typeface="+mj-lt"/>
              </a:rPr>
              <a:t> next-hop is allocated.</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b="1" dirty="0">
                <a:solidFill>
                  <a:prstClr val="black"/>
                </a:solidFill>
                <a:latin typeface="+mj-lt"/>
              </a:rPr>
              <a:t>From a forward-plane perspective, </a:t>
            </a:r>
            <a:r>
              <a:rPr lang="en-US" dirty="0">
                <a:solidFill>
                  <a:prstClr val="black"/>
                </a:solidFill>
                <a:latin typeface="+mj-lt"/>
              </a:rPr>
              <a:t>when IPv4/6 unicast traffic is received from the edge at the </a:t>
            </a:r>
            <a:r>
              <a:rPr lang="en-US" dirty="0">
                <a:solidFill>
                  <a:srgbClr val="FF0000"/>
                </a:solidFill>
                <a:latin typeface="+mj-lt"/>
              </a:rPr>
              <a:t>SRv6</a:t>
            </a:r>
            <a:r>
              <a:rPr lang="en-US" dirty="0">
                <a:solidFill>
                  <a:prstClr val="black"/>
                </a:solidFill>
                <a:latin typeface="+mj-lt"/>
              </a:rPr>
              <a:t> PE, a lookup is performed, the </a:t>
            </a:r>
            <a:r>
              <a:rPr lang="en-US" dirty="0">
                <a:solidFill>
                  <a:srgbClr val="FF0000"/>
                </a:solidFill>
                <a:latin typeface="+mj-lt"/>
              </a:rPr>
              <a:t>SRv6 VPN SID</a:t>
            </a:r>
            <a:r>
              <a:rPr lang="en-US" dirty="0">
                <a:solidFill>
                  <a:prstClr val="black"/>
                </a:solidFill>
                <a:latin typeface="+mj-lt"/>
              </a:rPr>
              <a:t> </a:t>
            </a:r>
            <a:r>
              <a:rPr lang="en-US" b="1" dirty="0">
                <a:solidFill>
                  <a:prstClr val="black"/>
                </a:solidFill>
                <a:latin typeface="+mj-lt"/>
              </a:rPr>
              <a:t>is obtained and </a:t>
            </a:r>
            <a:r>
              <a:rPr lang="en-US" dirty="0">
                <a:solidFill>
                  <a:srgbClr val="FF0000"/>
                </a:solidFill>
                <a:latin typeface="+mj-lt"/>
              </a:rPr>
              <a:t>IPv6</a:t>
            </a:r>
            <a:r>
              <a:rPr lang="en-US" dirty="0">
                <a:solidFill>
                  <a:prstClr val="black"/>
                </a:solidFill>
                <a:latin typeface="+mj-lt"/>
              </a:rPr>
              <a:t> </a:t>
            </a:r>
            <a:r>
              <a:rPr lang="en-US" dirty="0">
                <a:solidFill>
                  <a:srgbClr val="FF0000"/>
                </a:solidFill>
                <a:latin typeface="+mj-lt"/>
              </a:rPr>
              <a:t>next-hop</a:t>
            </a:r>
            <a:r>
              <a:rPr lang="en-US" dirty="0">
                <a:solidFill>
                  <a:prstClr val="black"/>
                </a:solidFill>
                <a:latin typeface="+mj-lt"/>
              </a:rPr>
              <a:t> </a:t>
            </a:r>
            <a:r>
              <a:rPr lang="en-US" b="1" dirty="0">
                <a:solidFill>
                  <a:prstClr val="black"/>
                </a:solidFill>
                <a:latin typeface="+mj-lt"/>
              </a:rPr>
              <a:t>is added when forwarded to the core.</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dirty="0">
                <a:solidFill>
                  <a:prstClr val="black"/>
                </a:solidFill>
                <a:latin typeface="+mj-lt"/>
              </a:rPr>
              <a:t>Daisy </a:t>
            </a:r>
            <a:r>
              <a:rPr lang="en-US" b="1" dirty="0">
                <a:solidFill>
                  <a:prstClr val="black"/>
                </a:solidFill>
                <a:latin typeface="+mj-lt"/>
              </a:rPr>
              <a:t>collects </a:t>
            </a:r>
            <a:r>
              <a:rPr lang="en-US" b="1" dirty="0">
                <a:solidFill>
                  <a:srgbClr val="FF0000"/>
                </a:solidFill>
                <a:latin typeface="+mj-lt"/>
              </a:rPr>
              <a:t>SRv6</a:t>
            </a:r>
            <a:r>
              <a:rPr lang="en-US" b="1" dirty="0">
                <a:solidFill>
                  <a:prstClr val="black"/>
                </a:solidFill>
                <a:latin typeface="+mj-lt"/>
              </a:rPr>
              <a:t> provider data-plane, IPv4/6 unicast customer data-plane in IPFIX </a:t>
            </a:r>
            <a:r>
              <a:rPr lang="en-US" dirty="0">
                <a:solidFill>
                  <a:prstClr val="black"/>
                </a:solidFill>
                <a:latin typeface="+mj-lt"/>
              </a:rPr>
              <a:t>and </a:t>
            </a:r>
            <a:r>
              <a:rPr lang="en-US" b="1" dirty="0">
                <a:solidFill>
                  <a:prstClr val="black"/>
                </a:solidFill>
                <a:latin typeface="+mj-lt"/>
              </a:rPr>
              <a:t>at provider edge BGP VPNv4/6 unicast </a:t>
            </a:r>
            <a:r>
              <a:rPr lang="en-US" dirty="0">
                <a:solidFill>
                  <a:prstClr val="black"/>
                </a:solidFill>
                <a:latin typeface="+mj-lt"/>
              </a:rPr>
              <a:t>to perform real-time data correlation.</a:t>
            </a:r>
          </a:p>
          <a:p>
            <a:pPr marL="182880" marR="0" lvl="0" indent="-182880" algn="l" defTabSz="914400" rtl="0" eaLnBrk="1" fontAlgn="auto" latinLnBrk="0" hangingPunct="1">
              <a:lnSpc>
                <a:spcPct val="90000"/>
              </a:lnSpc>
              <a:spcBef>
                <a:spcPts val="300"/>
              </a:spcBef>
              <a:spcAft>
                <a:spcPts val="300"/>
              </a:spcAft>
              <a:buClr>
                <a:schemeClr val="accent2"/>
              </a:buClr>
              <a:buSzTx/>
              <a:buFont typeface="TheSans Swisscom" panose="020B0603020202020204" pitchFamily="34" charset="0"/>
              <a:buChar char="&gt;"/>
              <a:tabLst/>
              <a:defRPr/>
            </a:pPr>
            <a:endParaRPr lang="en-US" sz="1700" dirty="0">
              <a:solidFill>
                <a:prstClr val="black"/>
              </a:solidFill>
              <a:latin typeface="Calibri" panose="020F0502020204030204"/>
            </a:endParaRPr>
          </a:p>
        </p:txBody>
      </p:sp>
      <p:pic>
        <p:nvPicPr>
          <p:cNvPr id="8" name="Picture 7">
            <a:extLst>
              <a:ext uri="{FF2B5EF4-FFF2-40B4-BE49-F238E27FC236}">
                <a16:creationId xmlns:a16="http://schemas.microsoft.com/office/drawing/2014/main" id="{BEE85A7C-A0E6-4F4D-8889-AA2A43D04A6A}"/>
              </a:ext>
            </a:extLst>
          </p:cNvPr>
          <p:cNvPicPr>
            <a:picLocks noChangeAspect="1"/>
          </p:cNvPicPr>
          <p:nvPr/>
        </p:nvPicPr>
        <p:blipFill>
          <a:blip r:embed="rId3"/>
          <a:stretch>
            <a:fillRect/>
          </a:stretch>
        </p:blipFill>
        <p:spPr>
          <a:xfrm>
            <a:off x="1100423" y="1457720"/>
            <a:ext cx="4995577" cy="5179176"/>
          </a:xfrm>
          <a:prstGeom prst="rect">
            <a:avLst/>
          </a:prstGeom>
        </p:spPr>
      </p:pic>
    </p:spTree>
    <p:extLst>
      <p:ext uri="{BB962C8B-B14F-4D97-AF65-F5344CB8AC3E}">
        <p14:creationId xmlns:p14="http://schemas.microsoft.com/office/powerpoint/2010/main" val="35572781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8</a:t>
            </a:fld>
            <a:endParaRPr lang="en-US" dirty="0"/>
          </a:p>
        </p:txBody>
      </p:sp>
      <p:sp>
        <p:nvSpPr>
          <p:cNvPr id="10" name="Titel 9">
            <a:extLst>
              <a:ext uri="{FF2B5EF4-FFF2-40B4-BE49-F238E27FC236}">
                <a16:creationId xmlns:a16="http://schemas.microsoft.com/office/drawing/2014/main" id="{AFB593AF-0A82-44B6-929C-D79501B99CC1}"/>
              </a:ext>
            </a:extLst>
          </p:cNvPr>
          <p:cNvSpPr>
            <a:spLocks noGrp="1"/>
          </p:cNvSpPr>
          <p:nvPr>
            <p:ph type="title"/>
          </p:nvPr>
        </p:nvSpPr>
        <p:spPr bwMode="black"/>
        <p:txBody>
          <a:bodyPr/>
          <a:lstStyle/>
          <a:p>
            <a:r>
              <a:rPr lang="en-US" dirty="0"/>
              <a:t>Trace Path and Measure Delay in IPv6 Data Plane</a:t>
            </a:r>
            <a:br>
              <a:rPr lang="en-US" dirty="0"/>
            </a:br>
            <a:r>
              <a:rPr lang="en-US" b="0" dirty="0"/>
              <a:t>Use Case Overview</a:t>
            </a:r>
            <a:endParaRPr lang="en-US" b="0" dirty="0">
              <a:latin typeface="+mn-lt"/>
            </a:endParaRPr>
          </a:p>
        </p:txBody>
      </p:sp>
      <p:sp>
        <p:nvSpPr>
          <p:cNvPr id="19" name="Inhaltsplatzhalter 1">
            <a:extLst>
              <a:ext uri="{FF2B5EF4-FFF2-40B4-BE49-F238E27FC236}">
                <a16:creationId xmlns:a16="http://schemas.microsoft.com/office/drawing/2014/main" id="{19555CCE-8A95-47E1-A495-F652C9851C45}"/>
              </a:ext>
            </a:extLst>
          </p:cNvPr>
          <p:cNvSpPr txBox="1">
            <a:spLocks/>
          </p:cNvSpPr>
          <p:nvPr/>
        </p:nvSpPr>
        <p:spPr bwMode="black">
          <a:xfrm>
            <a:off x="11994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Traffic to Measure</a:t>
            </a:r>
          </a:p>
          <a:p>
            <a:r>
              <a:rPr lang="en-US" dirty="0"/>
              <a:t>Active probing addresses what-if and Hybrid Type 1 passive customer packet delay and loss SLI.</a:t>
            </a:r>
          </a:p>
          <a:p>
            <a:endParaRPr lang="en-US" dirty="0"/>
          </a:p>
        </p:txBody>
      </p:sp>
      <p:sp>
        <p:nvSpPr>
          <p:cNvPr id="15" name="Inhaltsplatzhalter 1">
            <a:extLst>
              <a:ext uri="{FF2B5EF4-FFF2-40B4-BE49-F238E27FC236}">
                <a16:creationId xmlns:a16="http://schemas.microsoft.com/office/drawing/2014/main" id="{CEE28B7E-6876-4024-8368-999EF61EE090}"/>
              </a:ext>
            </a:extLst>
          </p:cNvPr>
          <p:cNvSpPr txBox="1">
            <a:spLocks/>
          </p:cNvSpPr>
          <p:nvPr/>
        </p:nvSpPr>
        <p:spPr bwMode="black">
          <a:xfrm>
            <a:off x="84002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Network Dimensions</a:t>
            </a:r>
          </a:p>
          <a:p>
            <a:r>
              <a:rPr lang="en-US" dirty="0"/>
              <a:t>Ability to trace packet forwarding path to describe which interfaces, queues, nodes and domains the flow was forwarded through due to which IP next-hop, top MPLS label or active SRv6 SID. Ability to trace a single or group of flows with same properties.</a:t>
            </a:r>
          </a:p>
        </p:txBody>
      </p:sp>
      <p:sp>
        <p:nvSpPr>
          <p:cNvPr id="17" name="Inhaltsplatzhalter 1">
            <a:extLst>
              <a:ext uri="{FF2B5EF4-FFF2-40B4-BE49-F238E27FC236}">
                <a16:creationId xmlns:a16="http://schemas.microsoft.com/office/drawing/2014/main" id="{09D997DC-B693-4AFE-9BA5-5CA96CB0CA7D}"/>
              </a:ext>
            </a:extLst>
          </p:cNvPr>
          <p:cNvSpPr txBox="1">
            <a:spLocks/>
          </p:cNvSpPr>
          <p:nvPr/>
        </p:nvSpPr>
        <p:spPr bwMode="black">
          <a:xfrm>
            <a:off x="47998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Delay Measurement</a:t>
            </a:r>
          </a:p>
          <a:p>
            <a:r>
              <a:rPr lang="en-US" dirty="0"/>
              <a:t>Measure on-path or round-trip delay observed on network node or outside network node.</a:t>
            </a:r>
          </a:p>
        </p:txBody>
      </p:sp>
      <p:sp>
        <p:nvSpPr>
          <p:cNvPr id="12" name="Inhaltsplatzhalter 1">
            <a:extLst>
              <a:ext uri="{FF2B5EF4-FFF2-40B4-BE49-F238E27FC236}">
                <a16:creationId xmlns:a16="http://schemas.microsoft.com/office/drawing/2014/main" id="{49A42249-B896-499C-B976-59F68C665A40}"/>
              </a:ext>
            </a:extLst>
          </p:cNvPr>
          <p:cNvSpPr txBox="1">
            <a:spLocks/>
          </p:cNvSpPr>
          <p:nvPr/>
        </p:nvSpPr>
        <p:spPr bwMode="black">
          <a:xfrm>
            <a:off x="1199832" y="4321992"/>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IPv6 Data Plane Applicability</a:t>
            </a:r>
          </a:p>
          <a:p>
            <a:r>
              <a:rPr lang="en-US" dirty="0"/>
              <a:t>Applied to IPv6 Destination or</a:t>
            </a:r>
            <a:br>
              <a:rPr lang="en-US" dirty="0"/>
            </a:br>
            <a:r>
              <a:rPr lang="en-US" dirty="0"/>
              <a:t>Hop-by-Hop options header and observable on transit and encapsulation or decapsulation node only.</a:t>
            </a:r>
          </a:p>
        </p:txBody>
      </p:sp>
      <p:sp>
        <p:nvSpPr>
          <p:cNvPr id="14" name="Inhaltsplatzhalter 1">
            <a:extLst>
              <a:ext uri="{FF2B5EF4-FFF2-40B4-BE49-F238E27FC236}">
                <a16:creationId xmlns:a16="http://schemas.microsoft.com/office/drawing/2014/main" id="{4DD86206-CB4D-469F-A83E-685331CD9CED}"/>
              </a:ext>
            </a:extLst>
          </p:cNvPr>
          <p:cNvSpPr txBox="1">
            <a:spLocks/>
          </p:cNvSpPr>
          <p:nvPr/>
        </p:nvSpPr>
        <p:spPr bwMode="black">
          <a:xfrm>
            <a:off x="4800232" y="4321992"/>
            <a:ext cx="3429368"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Data Aggregation</a:t>
            </a:r>
          </a:p>
          <a:p>
            <a:r>
              <a:rPr lang="en-US" dirty="0"/>
              <a:t>Delay measurement and trace dimensions are control and management plane aggregated on network node (postcard) or accumulated in the IPv6 packet across the forwarding path (passport) and aggregated outside network node.</a:t>
            </a:r>
          </a:p>
        </p:txBody>
      </p:sp>
      <p:sp>
        <p:nvSpPr>
          <p:cNvPr id="18" name="Freeform 16">
            <a:extLst>
              <a:ext uri="{FF2B5EF4-FFF2-40B4-BE49-F238E27FC236}">
                <a16:creationId xmlns:a16="http://schemas.microsoft.com/office/drawing/2014/main" id="{A367922F-4684-415B-B951-2BA09634F635}"/>
              </a:ext>
            </a:extLst>
          </p:cNvPr>
          <p:cNvSpPr>
            <a:spLocks noEditPoints="1"/>
          </p:cNvSpPr>
          <p:nvPr>
            <p:custDataLst>
              <p:tags r:id="rId1"/>
            </p:custDataLst>
          </p:nvPr>
        </p:nvSpPr>
        <p:spPr bwMode="black">
          <a:xfrm>
            <a:off x="4800232" y="3717032"/>
            <a:ext cx="360363" cy="388937"/>
          </a:xfrm>
          <a:custGeom>
            <a:avLst/>
            <a:gdLst>
              <a:gd name="T0" fmla="*/ 32 w 96"/>
              <a:gd name="T1" fmla="*/ 96 h 104"/>
              <a:gd name="T2" fmla="*/ 24 w 96"/>
              <a:gd name="T3" fmla="*/ 104 h 104"/>
              <a:gd name="T4" fmla="*/ 16 w 96"/>
              <a:gd name="T5" fmla="*/ 96 h 104"/>
              <a:gd name="T6" fmla="*/ 24 w 96"/>
              <a:gd name="T7" fmla="*/ 88 h 104"/>
              <a:gd name="T8" fmla="*/ 32 w 96"/>
              <a:gd name="T9" fmla="*/ 96 h 104"/>
              <a:gd name="T10" fmla="*/ 72 w 96"/>
              <a:gd name="T11" fmla="*/ 88 h 104"/>
              <a:gd name="T12" fmla="*/ 64 w 96"/>
              <a:gd name="T13" fmla="*/ 96 h 104"/>
              <a:gd name="T14" fmla="*/ 72 w 96"/>
              <a:gd name="T15" fmla="*/ 104 h 104"/>
              <a:gd name="T16" fmla="*/ 80 w 96"/>
              <a:gd name="T17" fmla="*/ 96 h 104"/>
              <a:gd name="T18" fmla="*/ 72 w 96"/>
              <a:gd name="T19" fmla="*/ 88 h 104"/>
              <a:gd name="T20" fmla="*/ 96 w 96"/>
              <a:gd name="T21" fmla="*/ 12 h 104"/>
              <a:gd name="T22" fmla="*/ 96 w 96"/>
              <a:gd name="T23" fmla="*/ 40 h 104"/>
              <a:gd name="T24" fmla="*/ 82 w 96"/>
              <a:gd name="T25" fmla="*/ 56 h 104"/>
              <a:gd name="T26" fmla="*/ 31 w 96"/>
              <a:gd name="T27" fmla="*/ 64 h 104"/>
              <a:gd name="T28" fmla="*/ 26 w 96"/>
              <a:gd name="T29" fmla="*/ 72 h 104"/>
              <a:gd name="T30" fmla="*/ 76 w 96"/>
              <a:gd name="T31" fmla="*/ 72 h 104"/>
              <a:gd name="T32" fmla="*/ 80 w 96"/>
              <a:gd name="T33" fmla="*/ 76 h 104"/>
              <a:gd name="T34" fmla="*/ 76 w 96"/>
              <a:gd name="T35" fmla="*/ 80 h 104"/>
              <a:gd name="T36" fmla="*/ 20 w 96"/>
              <a:gd name="T37" fmla="*/ 80 h 104"/>
              <a:gd name="T38" fmla="*/ 17 w 96"/>
              <a:gd name="T39" fmla="*/ 78 h 104"/>
              <a:gd name="T40" fmla="*/ 16 w 96"/>
              <a:gd name="T41" fmla="*/ 74 h 104"/>
              <a:gd name="T42" fmla="*/ 24 w 96"/>
              <a:gd name="T43" fmla="*/ 59 h 104"/>
              <a:gd name="T44" fmla="*/ 16 w 96"/>
              <a:gd name="T45" fmla="*/ 8 h 104"/>
              <a:gd name="T46" fmla="*/ 4 w 96"/>
              <a:gd name="T47" fmla="*/ 8 h 104"/>
              <a:gd name="T48" fmla="*/ 0 w 96"/>
              <a:gd name="T49" fmla="*/ 4 h 104"/>
              <a:gd name="T50" fmla="*/ 4 w 96"/>
              <a:gd name="T51" fmla="*/ 0 h 104"/>
              <a:gd name="T52" fmla="*/ 16 w 96"/>
              <a:gd name="T53" fmla="*/ 0 h 104"/>
              <a:gd name="T54" fmla="*/ 24 w 96"/>
              <a:gd name="T55" fmla="*/ 7 h 104"/>
              <a:gd name="T56" fmla="*/ 24 w 96"/>
              <a:gd name="T57" fmla="*/ 8 h 104"/>
              <a:gd name="T58" fmla="*/ 92 w 96"/>
              <a:gd name="T59" fmla="*/ 8 h 104"/>
              <a:gd name="T60" fmla="*/ 96 w 96"/>
              <a:gd name="T61" fmla="*/ 12 h 104"/>
              <a:gd name="T62" fmla="*/ 88 w 96"/>
              <a:gd name="T63" fmla="*/ 16 h 104"/>
              <a:gd name="T64" fmla="*/ 25 w 96"/>
              <a:gd name="T65" fmla="*/ 16 h 104"/>
              <a:gd name="T66" fmla="*/ 31 w 96"/>
              <a:gd name="T67" fmla="*/ 55 h 104"/>
              <a:gd name="T68" fmla="*/ 81 w 96"/>
              <a:gd name="T69" fmla="*/ 48 h 104"/>
              <a:gd name="T70" fmla="*/ 88 w 96"/>
              <a:gd name="T71" fmla="*/ 40 h 104"/>
              <a:gd name="T72" fmla="*/ 88 w 96"/>
              <a:gd name="T73" fmla="*/ 1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 h="104">
                <a:moveTo>
                  <a:pt x="32" y="96"/>
                </a:moveTo>
                <a:cubicBezTo>
                  <a:pt x="32" y="100"/>
                  <a:pt x="28" y="104"/>
                  <a:pt x="24" y="104"/>
                </a:cubicBezTo>
                <a:cubicBezTo>
                  <a:pt x="20" y="104"/>
                  <a:pt x="16" y="100"/>
                  <a:pt x="16" y="96"/>
                </a:cubicBezTo>
                <a:cubicBezTo>
                  <a:pt x="16" y="92"/>
                  <a:pt x="20" y="88"/>
                  <a:pt x="24" y="88"/>
                </a:cubicBezTo>
                <a:cubicBezTo>
                  <a:pt x="28" y="88"/>
                  <a:pt x="32" y="92"/>
                  <a:pt x="32" y="96"/>
                </a:cubicBezTo>
                <a:close/>
                <a:moveTo>
                  <a:pt x="72" y="88"/>
                </a:moveTo>
                <a:cubicBezTo>
                  <a:pt x="68" y="88"/>
                  <a:pt x="64" y="92"/>
                  <a:pt x="64" y="96"/>
                </a:cubicBezTo>
                <a:cubicBezTo>
                  <a:pt x="64" y="100"/>
                  <a:pt x="68" y="104"/>
                  <a:pt x="72" y="104"/>
                </a:cubicBezTo>
                <a:cubicBezTo>
                  <a:pt x="76" y="104"/>
                  <a:pt x="80" y="100"/>
                  <a:pt x="80" y="96"/>
                </a:cubicBezTo>
                <a:cubicBezTo>
                  <a:pt x="80" y="92"/>
                  <a:pt x="76" y="88"/>
                  <a:pt x="72" y="88"/>
                </a:cubicBezTo>
                <a:close/>
                <a:moveTo>
                  <a:pt x="96" y="12"/>
                </a:moveTo>
                <a:cubicBezTo>
                  <a:pt x="96" y="40"/>
                  <a:pt x="96" y="40"/>
                  <a:pt x="96" y="40"/>
                </a:cubicBezTo>
                <a:cubicBezTo>
                  <a:pt x="96" y="48"/>
                  <a:pt x="90" y="55"/>
                  <a:pt x="82" y="56"/>
                </a:cubicBezTo>
                <a:cubicBezTo>
                  <a:pt x="31" y="64"/>
                  <a:pt x="31" y="64"/>
                  <a:pt x="31" y="64"/>
                </a:cubicBezTo>
                <a:cubicBezTo>
                  <a:pt x="26" y="72"/>
                  <a:pt x="26" y="72"/>
                  <a:pt x="26" y="72"/>
                </a:cubicBezTo>
                <a:cubicBezTo>
                  <a:pt x="76" y="72"/>
                  <a:pt x="76" y="72"/>
                  <a:pt x="76" y="72"/>
                </a:cubicBezTo>
                <a:cubicBezTo>
                  <a:pt x="78" y="72"/>
                  <a:pt x="80" y="74"/>
                  <a:pt x="80" y="76"/>
                </a:cubicBezTo>
                <a:cubicBezTo>
                  <a:pt x="80" y="78"/>
                  <a:pt x="78" y="80"/>
                  <a:pt x="76" y="80"/>
                </a:cubicBezTo>
                <a:cubicBezTo>
                  <a:pt x="20" y="80"/>
                  <a:pt x="20" y="80"/>
                  <a:pt x="20" y="80"/>
                </a:cubicBezTo>
                <a:cubicBezTo>
                  <a:pt x="19" y="80"/>
                  <a:pt x="17" y="79"/>
                  <a:pt x="17" y="78"/>
                </a:cubicBezTo>
                <a:cubicBezTo>
                  <a:pt x="16" y="77"/>
                  <a:pt x="16" y="75"/>
                  <a:pt x="16" y="74"/>
                </a:cubicBezTo>
                <a:cubicBezTo>
                  <a:pt x="24" y="59"/>
                  <a:pt x="24" y="59"/>
                  <a:pt x="24" y="59"/>
                </a:cubicBezTo>
                <a:cubicBezTo>
                  <a:pt x="16" y="8"/>
                  <a:pt x="16" y="8"/>
                  <a:pt x="16" y="8"/>
                </a:cubicBezTo>
                <a:cubicBezTo>
                  <a:pt x="4" y="8"/>
                  <a:pt x="4" y="8"/>
                  <a:pt x="4" y="8"/>
                </a:cubicBezTo>
                <a:cubicBezTo>
                  <a:pt x="2" y="8"/>
                  <a:pt x="0" y="6"/>
                  <a:pt x="0" y="4"/>
                </a:cubicBezTo>
                <a:cubicBezTo>
                  <a:pt x="0" y="2"/>
                  <a:pt x="2" y="0"/>
                  <a:pt x="4" y="0"/>
                </a:cubicBezTo>
                <a:cubicBezTo>
                  <a:pt x="16" y="0"/>
                  <a:pt x="16" y="0"/>
                  <a:pt x="16" y="0"/>
                </a:cubicBezTo>
                <a:cubicBezTo>
                  <a:pt x="20" y="0"/>
                  <a:pt x="23" y="3"/>
                  <a:pt x="24" y="7"/>
                </a:cubicBezTo>
                <a:cubicBezTo>
                  <a:pt x="24" y="8"/>
                  <a:pt x="24" y="8"/>
                  <a:pt x="24" y="8"/>
                </a:cubicBezTo>
                <a:cubicBezTo>
                  <a:pt x="92" y="8"/>
                  <a:pt x="92" y="8"/>
                  <a:pt x="92" y="8"/>
                </a:cubicBezTo>
                <a:cubicBezTo>
                  <a:pt x="94" y="8"/>
                  <a:pt x="96" y="10"/>
                  <a:pt x="96" y="12"/>
                </a:cubicBezTo>
                <a:close/>
                <a:moveTo>
                  <a:pt x="88" y="16"/>
                </a:moveTo>
                <a:cubicBezTo>
                  <a:pt x="25" y="16"/>
                  <a:pt x="25" y="16"/>
                  <a:pt x="25" y="16"/>
                </a:cubicBezTo>
                <a:cubicBezTo>
                  <a:pt x="31" y="55"/>
                  <a:pt x="31" y="55"/>
                  <a:pt x="31" y="55"/>
                </a:cubicBezTo>
                <a:cubicBezTo>
                  <a:pt x="81" y="48"/>
                  <a:pt x="81" y="48"/>
                  <a:pt x="81" y="48"/>
                </a:cubicBezTo>
                <a:cubicBezTo>
                  <a:pt x="85" y="47"/>
                  <a:pt x="88" y="44"/>
                  <a:pt x="88" y="40"/>
                </a:cubicBezTo>
                <a:lnTo>
                  <a:pt x="88"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4" name="Graphic 3">
            <a:extLst>
              <a:ext uri="{FF2B5EF4-FFF2-40B4-BE49-F238E27FC236}">
                <a16:creationId xmlns:a16="http://schemas.microsoft.com/office/drawing/2014/main" id="{FAC869D1-0E8B-8976-8E88-76B3D09082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17719" y="1481724"/>
            <a:ext cx="410400" cy="410400"/>
          </a:xfrm>
          <a:prstGeom prst="rect">
            <a:avLst/>
          </a:prstGeom>
        </p:spPr>
      </p:pic>
      <p:pic>
        <p:nvPicPr>
          <p:cNvPr id="5" name="Graphic 4">
            <a:extLst>
              <a:ext uri="{FF2B5EF4-FFF2-40B4-BE49-F238E27FC236}">
                <a16:creationId xmlns:a16="http://schemas.microsoft.com/office/drawing/2014/main" id="{03AAC8A4-E719-E9B3-3D86-E00FA1E7FBD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99856" y="1481724"/>
            <a:ext cx="410400" cy="410400"/>
          </a:xfrm>
          <a:prstGeom prst="rect">
            <a:avLst/>
          </a:prstGeom>
        </p:spPr>
      </p:pic>
      <p:pic>
        <p:nvPicPr>
          <p:cNvPr id="6" name="Graphic 5">
            <a:extLst>
              <a:ext uri="{FF2B5EF4-FFF2-40B4-BE49-F238E27FC236}">
                <a16:creationId xmlns:a16="http://schemas.microsoft.com/office/drawing/2014/main" id="{23A7251D-78E1-37C6-A0AC-2DE259A78FC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66082" y="1481724"/>
            <a:ext cx="410400" cy="410400"/>
          </a:xfrm>
          <a:prstGeom prst="rect">
            <a:avLst/>
          </a:prstGeom>
        </p:spPr>
      </p:pic>
      <p:pic>
        <p:nvPicPr>
          <p:cNvPr id="7" name="Graphic 6">
            <a:extLst>
              <a:ext uri="{FF2B5EF4-FFF2-40B4-BE49-F238E27FC236}">
                <a16:creationId xmlns:a16="http://schemas.microsoft.com/office/drawing/2014/main" id="{6BCC6CCB-21B6-49BC-0B77-B752A44DC54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99455" y="3717032"/>
            <a:ext cx="410400" cy="410400"/>
          </a:xfrm>
          <a:prstGeom prst="rect">
            <a:avLst/>
          </a:prstGeom>
        </p:spPr>
      </p:pic>
    </p:spTree>
    <p:extLst>
      <p:ext uri="{BB962C8B-B14F-4D97-AF65-F5344CB8AC3E}">
        <p14:creationId xmlns:p14="http://schemas.microsoft.com/office/powerpoint/2010/main" val="14100926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Measure delay and give network context</a:t>
            </a:r>
            <a:br>
              <a:rPr lang="en-US" dirty="0"/>
            </a:br>
            <a:r>
              <a:rPr lang="en-US" b="0" dirty="0">
                <a:solidFill>
                  <a:schemeClr val="bg1">
                    <a:lumMod val="65000"/>
                  </a:schemeClr>
                </a:solidFill>
              </a:rPr>
              <a:t>Enabling a statistical network delay view</a:t>
            </a:r>
            <a:endParaRPr lang="en-GB" b="0" dirty="0">
              <a:solidFill>
                <a:schemeClr val="bg1">
                  <a:lumMod val="65000"/>
                </a:schemeClr>
              </a:solidFill>
            </a:endParaRP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210300" y="1376772"/>
            <a:ext cx="5876925" cy="5339269"/>
          </a:xfrm>
        </p:spPr>
        <p:txBody>
          <a:bodyPr/>
          <a:lstStyle/>
          <a:p>
            <a:pPr marL="285750" indent="-285750">
              <a:spcBef>
                <a:spcPts val="300"/>
              </a:spcBef>
              <a:spcAft>
                <a:spcPts val="300"/>
              </a:spcAft>
              <a:buClr>
                <a:schemeClr val="accent2"/>
              </a:buClr>
              <a:buFont typeface="TheSans Swisscom" panose="020B0603020202020204" pitchFamily="34" charset="0"/>
              <a:buChar char="&gt;"/>
            </a:pPr>
            <a:r>
              <a:rPr lang="en-US" dirty="0"/>
              <a:t>Packets are captured ingress with an optional sampler, data-plane dimensions extracted, enriched with device and control-plane dimensions and </a:t>
            </a:r>
            <a:r>
              <a:rPr lang="en-US" b="1" dirty="0"/>
              <a:t>added with a unique flow ID to a flow cache on the node for aggregation.</a:t>
            </a:r>
          </a:p>
          <a:p>
            <a:pPr marL="285750" indent="-285750">
              <a:spcBef>
                <a:spcPts val="300"/>
              </a:spcBef>
              <a:spcAft>
                <a:spcPts val="300"/>
              </a:spcAft>
              <a:buClr>
                <a:schemeClr val="accent2"/>
              </a:buClr>
              <a:buFont typeface="TheSans Swisscom" panose="020B0603020202020204" pitchFamily="34" charset="0"/>
              <a:buChar char="&gt;"/>
            </a:pPr>
            <a:r>
              <a:rPr lang="en-US" dirty="0"/>
              <a:t>The data-plane dimensions answers </a:t>
            </a:r>
            <a:r>
              <a:rPr lang="en-US" b="1" dirty="0"/>
              <a:t>which packet</a:t>
            </a:r>
            <a:r>
              <a:rPr lang="en-US" dirty="0"/>
              <a:t>. The control-plane </a:t>
            </a:r>
            <a:r>
              <a:rPr lang="en-US" b="1" dirty="0"/>
              <a:t>which service</a:t>
            </a:r>
            <a:r>
              <a:rPr lang="en-US" dirty="0"/>
              <a:t>. The device dimensions </a:t>
            </a:r>
            <a:r>
              <a:rPr lang="en-US" b="1" dirty="0"/>
              <a:t>where in the network</a:t>
            </a:r>
            <a:r>
              <a:rPr lang="en-US" dirty="0"/>
              <a:t>.</a:t>
            </a:r>
          </a:p>
          <a:p>
            <a:pPr marL="285750" indent="-285750">
              <a:spcBef>
                <a:spcPts val="300"/>
              </a:spcBef>
              <a:spcAft>
                <a:spcPts val="300"/>
              </a:spcAft>
              <a:buClr>
                <a:schemeClr val="accent2"/>
              </a:buClr>
              <a:buFont typeface="TheSans Swisscom" panose="020B0603020202020204" pitchFamily="34" charset="0"/>
              <a:buChar char="&gt;"/>
            </a:pPr>
            <a:r>
              <a:rPr lang="de-CH" dirty="0">
                <a:solidFill>
                  <a:srgbClr val="FF0000"/>
                </a:solidFill>
              </a:rPr>
              <a:t>In </a:t>
            </a:r>
            <a:r>
              <a:rPr lang="de-CH" dirty="0" err="1">
                <a:solidFill>
                  <a:srgbClr val="FF0000"/>
                </a:solidFill>
              </a:rPr>
              <a:t>case</a:t>
            </a:r>
            <a:r>
              <a:rPr lang="de-CH" dirty="0">
                <a:solidFill>
                  <a:srgbClr val="FF0000"/>
                </a:solidFill>
              </a:rPr>
              <a:t> of On-Path Delay Measurement, </a:t>
            </a:r>
            <a:r>
              <a:rPr lang="en-US" b="1" dirty="0"/>
              <a:t>a timestamp and optionally a direct export tag is added </a:t>
            </a:r>
            <a:r>
              <a:rPr lang="en-US" dirty="0"/>
              <a:t>to the packet header when entering the IOAM domain.</a:t>
            </a:r>
          </a:p>
          <a:p>
            <a:pPr marL="285750" indent="-285750">
              <a:spcBef>
                <a:spcPts val="300"/>
              </a:spcBef>
              <a:spcAft>
                <a:spcPts val="300"/>
              </a:spcAft>
              <a:buClr>
                <a:schemeClr val="accent2"/>
              </a:buClr>
              <a:buFont typeface="TheSans Swisscom" panose="020B0603020202020204" pitchFamily="34" charset="0"/>
              <a:buChar char="&gt;"/>
            </a:pPr>
            <a:r>
              <a:rPr lang="en-US" dirty="0"/>
              <a:t>Each subsequent packet for the same flow increases byte and packet count. Each new flow creates a new flow ID in the flow cache.</a:t>
            </a:r>
          </a:p>
          <a:p>
            <a:pPr marL="285750" indent="-285750">
              <a:spcBef>
                <a:spcPts val="300"/>
              </a:spcBef>
              <a:spcAft>
                <a:spcPts val="300"/>
              </a:spcAft>
              <a:buClr>
                <a:schemeClr val="accent2"/>
              </a:buClr>
              <a:buFont typeface="TheSans Swisscom" panose="020B0603020202020204" pitchFamily="34" charset="0"/>
              <a:buChar char="&gt;"/>
            </a:pPr>
            <a:r>
              <a:rPr lang="de-CH" dirty="0">
                <a:solidFill>
                  <a:srgbClr val="FF0000"/>
                </a:solidFill>
              </a:rPr>
              <a:t>In </a:t>
            </a:r>
            <a:r>
              <a:rPr lang="de-CH" dirty="0" err="1">
                <a:solidFill>
                  <a:srgbClr val="FF0000"/>
                </a:solidFill>
              </a:rPr>
              <a:t>case</a:t>
            </a:r>
            <a:r>
              <a:rPr lang="de-CH" dirty="0">
                <a:solidFill>
                  <a:srgbClr val="FF0000"/>
                </a:solidFill>
              </a:rPr>
              <a:t> of On-Path Delay Measurement, </a:t>
            </a:r>
            <a:r>
              <a:rPr lang="en-US" dirty="0"/>
              <a:t>At each node in transit (postcard) or only at the last node (passport), </a:t>
            </a:r>
            <a:r>
              <a:rPr lang="en-US" b="1" dirty="0"/>
              <a:t>the delay is calculated by comparing the timestamp in the packet and when packet is received </a:t>
            </a:r>
            <a:r>
              <a:rPr lang="en-US" dirty="0"/>
              <a:t>on the node</a:t>
            </a:r>
            <a:r>
              <a:rPr lang="en-US" b="1" dirty="0"/>
              <a:t>. Delay is populated into the flow cache besides packet and byte count.</a:t>
            </a:r>
          </a:p>
        </p:txBody>
      </p:sp>
      <p:pic>
        <p:nvPicPr>
          <p:cNvPr id="10" name="Picture 9">
            <a:extLst>
              <a:ext uri="{FF2B5EF4-FFF2-40B4-BE49-F238E27FC236}">
                <a16:creationId xmlns:a16="http://schemas.microsoft.com/office/drawing/2014/main" id="{AE341F49-0231-4490-B701-E0DAB88C8E81}"/>
              </a:ext>
            </a:extLst>
          </p:cNvPr>
          <p:cNvPicPr>
            <a:picLocks noChangeAspect="1"/>
          </p:cNvPicPr>
          <p:nvPr/>
        </p:nvPicPr>
        <p:blipFill>
          <a:blip r:embed="rId3"/>
          <a:stretch>
            <a:fillRect/>
          </a:stretch>
        </p:blipFill>
        <p:spPr>
          <a:xfrm>
            <a:off x="526133" y="1376772"/>
            <a:ext cx="5369842" cy="5148572"/>
          </a:xfrm>
          <a:prstGeom prst="rect">
            <a:avLst/>
          </a:prstGeom>
        </p:spPr>
      </p:pic>
    </p:spTree>
    <p:extLst>
      <p:ext uri="{BB962C8B-B14F-4D97-AF65-F5344CB8AC3E}">
        <p14:creationId xmlns:p14="http://schemas.microsoft.com/office/powerpoint/2010/main" val="29085418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11.xml><?xml version="1.0" encoding="utf-8"?>
<p:tagLst xmlns:a="http://schemas.openxmlformats.org/drawingml/2006/main" xmlns:r="http://schemas.openxmlformats.org/officeDocument/2006/relationships" xmlns:p="http://schemas.openxmlformats.org/presentationml/2006/main">
  <p:tag name="VCT-BODYINDENTATION" val="0;14.37504;28.12496;42.5;56.25;70.75;84.37504;98.87504;113.25;127;"/>
  <p:tag name="VCT-BULLETVISIBILITY" val="G*****"/>
</p:tagLst>
</file>

<file path=ppt/tags/tag12.xml><?xml version="1.0" encoding="utf-8"?>
<p:tagLst xmlns:a="http://schemas.openxmlformats.org/drawingml/2006/main" xmlns:r="http://schemas.openxmlformats.org/officeDocument/2006/relationships" xmlns:p="http://schemas.openxmlformats.org/presentationml/2006/main">
  <p:tag name="STYLE" val="VCT_Marker"/>
  <p:tag name="DATE" val="11.07.2011 10:19:05"/>
  <p:tag name="VCT-TEMPLATE" val="E_Presentation_Standard.potx"/>
  <p:tag name="VCTMASTER" val="Larissa"/>
  <p:tag name="VCTORDER" val="1"/>
</p:tagLst>
</file>

<file path=ppt/tags/tag13.xml><?xml version="1.0" encoding="utf-8"?>
<p:tagLst xmlns:a="http://schemas.openxmlformats.org/drawingml/2006/main" xmlns:r="http://schemas.openxmlformats.org/officeDocument/2006/relationships" xmlns:p="http://schemas.openxmlformats.org/presentationml/2006/main">
  <p:tag name="STYLE" val="VctRoadmap"/>
  <p:tag name="DATE" val="25.07.2011 15:37:35"/>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5.xml><?xml version="1.0" encoding="utf-8"?>
<p:tagLst xmlns:a="http://schemas.openxmlformats.org/drawingml/2006/main" xmlns:r="http://schemas.openxmlformats.org/officeDocument/2006/relationships" xmlns:p="http://schemas.openxmlformats.org/presentationml/2006/main">
  <p:tag name="VCT-BODYINDENTATION" val="0;14.37504;28.12496;42.5;56.25;70.75;84.37504;98.87504;113.25;127;141.375;155.125;169.5;183.875;197.625;212.125;225.875;240.25;"/>
  <p:tag name="VCT-BULLETVISIBILITY" val="G*********"/>
</p:tagLst>
</file>

<file path=ppt/tags/tag6.xml><?xml version="1.0" encoding="utf-8"?>
<p:tagLst xmlns:a="http://schemas.openxmlformats.org/drawingml/2006/main" xmlns:r="http://schemas.openxmlformats.org/officeDocument/2006/relationships" xmlns:p="http://schemas.openxmlformats.org/presentationml/2006/main">
  <p:tag name="STYLE" val="VCT_Marker"/>
  <p:tag name="DATE" val="11.07.2011 10:19:05"/>
  <p:tag name="VCT-TEMPLATE" val="E_Presentation_Standard.potx"/>
  <p:tag name="VCTMASTER" val="Larissa"/>
  <p:tag name="VCTORDER"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heme/theme1.xml><?xml version="1.0" encoding="utf-8"?>
<a:theme xmlns:a="http://schemas.openxmlformats.org/drawingml/2006/main" name="12_Blank">
  <a:themeElements>
    <a:clrScheme name="swisscom_standard_aus_guide">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Blank">
      <a:majorFont>
        <a:latin typeface="TheSans Swisscom Light"/>
        <a:ea typeface="ＭＳ Ｐゴシック"/>
        <a:cs typeface=""/>
      </a:majorFont>
      <a:minorFont>
        <a:latin typeface="TheSans Swissco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2D327D"/>
        </a:solidFill>
        <a:ln w="25400" cap="flat" cmpd="sng" algn="ctr">
          <a:noFill/>
          <a:prstDash val="solid"/>
        </a:ln>
        <a:effectLst/>
      </a:spPr>
      <a:bodyPr lIns="36000" tIns="36000" rIns="36000" bIns="36000">
        <a:spAutoFit/>
      </a:bodyPr>
      <a:lstStyle>
        <a:defPPr algn="ctr" fontAlgn="auto">
          <a:spcBef>
            <a:spcPts val="0"/>
          </a:spcBef>
          <a:spcAft>
            <a:spcPts val="0"/>
          </a:spcAft>
          <a:defRPr sz="1000" kern="0" dirty="0" smtClean="0">
            <a:solidFill>
              <a:prstClr val="white"/>
            </a:solidFill>
            <a:latin typeface="Arial"/>
            <a:ea typeface="+mn-ea"/>
            <a:cs typeface="+mn-cs"/>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_Presentation_Standard">
  <a:themeElements>
    <a:clrScheme name="swisscom">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swisscom">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0_Blank">
  <a:themeElements>
    <a:clrScheme name="swisscom_standard_aus_guide">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Blank">
      <a:majorFont>
        <a:latin typeface="TheSans Swisscom Light"/>
        <a:ea typeface="ＭＳ Ｐゴシック"/>
        <a:cs typeface=""/>
      </a:majorFont>
      <a:minorFont>
        <a:latin typeface="TheSans Swissco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Default Design">
  <a:themeElements>
    <a:clrScheme name="Default Design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Default Design">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Default Design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Default Design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Larissa">
  <a:themeElements>
    <a:clrScheme name="swisscom">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swisscom">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Blank">
  <a:themeElements>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Blank">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B7B7">
            <a:alpha val="53999"/>
          </a:srgbClr>
        </a:solidFill>
        <a:ln w="19050" cap="flat" cmpd="sng" algn="ctr">
          <a:solidFill>
            <a:srgbClr val="9696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ctr" defTabSz="914400" rtl="0" eaLnBrk="1" fontAlgn="base" latinLnBrk="0" hangingPunct="1">
          <a:lnSpc>
            <a:spcPct val="100000"/>
          </a:lnSpc>
          <a:spcBef>
            <a:spcPct val="50000"/>
          </a:spcBef>
          <a:spcAft>
            <a:spcPct val="0"/>
          </a:spcAft>
          <a:buClr>
            <a:schemeClr val="accent2"/>
          </a:buClr>
          <a:buSzTx/>
          <a:buFontTx/>
          <a:buNone/>
          <a:tabLst/>
          <a:defRPr kumimoji="0" lang="en-GB" sz="14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solidFill>
          <a:srgbClr val="FFB7B7">
            <a:alpha val="53999"/>
          </a:srgbClr>
        </a:solidFill>
        <a:ln w="19050" cap="flat" cmpd="sng" algn="ctr">
          <a:solidFill>
            <a:srgbClr val="9696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ctr" defTabSz="914400" rtl="0" eaLnBrk="1" fontAlgn="base" latinLnBrk="0" hangingPunct="1">
          <a:lnSpc>
            <a:spcPct val="100000"/>
          </a:lnSpc>
          <a:spcBef>
            <a:spcPct val="50000"/>
          </a:spcBef>
          <a:spcAft>
            <a:spcPct val="0"/>
          </a:spcAft>
          <a:buClr>
            <a:schemeClr val="accent2"/>
          </a:buClr>
          <a:buSzTx/>
          <a:buFontTx/>
          <a:buNone/>
          <a:tabLst/>
          <a:defRPr kumimoji="0" lang="en-GB" sz="14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Blank">
  <a:themeElements>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Blank">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Swisscom Master 16:9">
  <a:themeElements>
    <a:clrScheme name="Swisscom Office">
      <a:dk1>
        <a:srgbClr val="333333"/>
      </a:dk1>
      <a:lt1>
        <a:sysClr val="window" lastClr="FFFFFF"/>
      </a:lt1>
      <a:dk2>
        <a:srgbClr val="DD1122"/>
      </a:dk2>
      <a:lt2>
        <a:srgbClr val="001155"/>
      </a:lt2>
      <a:accent1>
        <a:srgbClr val="001155"/>
      </a:accent1>
      <a:accent2>
        <a:srgbClr val="11AAFF"/>
      </a:accent2>
      <a:accent3>
        <a:srgbClr val="0851DA"/>
      </a:accent3>
      <a:accent4>
        <a:srgbClr val="5C5C5C"/>
      </a:accent4>
      <a:accent5>
        <a:srgbClr val="858585"/>
      </a:accent5>
      <a:accent6>
        <a:srgbClr val="C1C1C1"/>
      </a:accent6>
      <a:hlink>
        <a:srgbClr val="11AAFF"/>
      </a:hlink>
      <a:folHlink>
        <a:srgbClr val="333333"/>
      </a:folHlink>
    </a:clrScheme>
    <a:fontScheme name="Benutzerdefiniert 6">
      <a:majorFont>
        <a:latin typeface="TheSans Swisscom Light"/>
        <a:ea typeface=""/>
        <a:cs typeface=""/>
      </a:majorFont>
      <a:minorFont>
        <a:latin typeface="TheSans Swissco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none" lIns="0" tIns="0" rIns="0" bIns="0" rtlCol="0">
        <a:noAutofit/>
      </a:bodyPr>
      <a:lstStyle>
        <a:defPPr marL="180000" indent="-180000" algn="l">
          <a:lnSpc>
            <a:spcPct val="110000"/>
          </a:lnSpc>
          <a:buFont typeface="Arial" panose="020B0604020202020204" pitchFamily="34" charset="0"/>
          <a:buChar char="•"/>
          <a:defRPr sz="1600" dirty="0"/>
        </a:defPPr>
      </a:lstStyle>
    </a:txDef>
  </a:objectDefaults>
  <a:extraClrSchemeLst/>
  <a:custClrLst>
    <a:custClr name="Pink">
      <a:srgbClr val="E61E64"/>
    </a:custClr>
    <a:custClr name="Orchid">
      <a:srgbClr val="A63297"/>
    </a:custClr>
    <a:custClr name="Iris">
      <a:srgbClr val="5944C6"/>
    </a:custClr>
    <a:custClr name="Dark Blue">
      <a:srgbClr val="1781E3"/>
    </a:custClr>
    <a:custClr name="Turquoise">
      <a:srgbClr val="0EABA9"/>
    </a:custClr>
    <a:custClr name="Aluminium">
      <a:srgbClr val="DDE3E7"/>
    </a:custClr>
    <a:custClr name="Horizon">
      <a:srgbClr val="EEF3F6"/>
    </a:custClr>
  </a:custClrLst>
  <a:extLst>
    <a:ext uri="{05A4C25C-085E-4340-85A3-A5531E510DB2}">
      <thm15:themeFamily xmlns:thm15="http://schemas.microsoft.com/office/thememl/2012/main" name="11_Presentation.potx" id="{7B97D6A9-4619-4506-9837-6CE85D33AF65}" vid="{F7B604C9-6113-49C9-A558-BEC3AFB8596F}"/>
    </a:ext>
  </a:extLst>
</a:theme>
</file>

<file path=ppt/theme/theme9.xml><?xml version="1.0" encoding="utf-8"?>
<a:theme xmlns:a="http://schemas.openxmlformats.org/drawingml/2006/main" name="1_Swisscom Master 16:9">
  <a:themeElements>
    <a:clrScheme name="Swisscom Office">
      <a:dk1>
        <a:srgbClr val="333333"/>
      </a:dk1>
      <a:lt1>
        <a:sysClr val="window" lastClr="FFFFFF"/>
      </a:lt1>
      <a:dk2>
        <a:srgbClr val="DD1122"/>
      </a:dk2>
      <a:lt2>
        <a:srgbClr val="001155"/>
      </a:lt2>
      <a:accent1>
        <a:srgbClr val="001155"/>
      </a:accent1>
      <a:accent2>
        <a:srgbClr val="11AAFF"/>
      </a:accent2>
      <a:accent3>
        <a:srgbClr val="0851DA"/>
      </a:accent3>
      <a:accent4>
        <a:srgbClr val="5C5C5C"/>
      </a:accent4>
      <a:accent5>
        <a:srgbClr val="858585"/>
      </a:accent5>
      <a:accent6>
        <a:srgbClr val="C1C1C1"/>
      </a:accent6>
      <a:hlink>
        <a:srgbClr val="11AAFF"/>
      </a:hlink>
      <a:folHlink>
        <a:srgbClr val="333333"/>
      </a:folHlink>
    </a:clrScheme>
    <a:fontScheme name="Benutzerdefiniert 6">
      <a:majorFont>
        <a:latin typeface="TheSans Swisscom Light"/>
        <a:ea typeface=""/>
        <a:cs typeface=""/>
      </a:majorFont>
      <a:minorFont>
        <a:latin typeface="TheSans Swissco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none" lIns="0" tIns="0" rIns="0" bIns="0" rtlCol="0">
        <a:noAutofit/>
      </a:bodyPr>
      <a:lstStyle>
        <a:defPPr marL="180000" indent="-180000" algn="l">
          <a:lnSpc>
            <a:spcPct val="110000"/>
          </a:lnSpc>
          <a:buFont typeface="Arial" panose="020B0604020202020204" pitchFamily="34" charset="0"/>
          <a:buChar char="•"/>
          <a:defRPr sz="1600" dirty="0"/>
        </a:defPPr>
      </a:lstStyle>
    </a:txDef>
  </a:objectDefaults>
  <a:extraClrSchemeLst/>
  <a:custClrLst>
    <a:custClr name="Pink">
      <a:srgbClr val="E61E64"/>
    </a:custClr>
    <a:custClr name="Orchid">
      <a:srgbClr val="A63297"/>
    </a:custClr>
    <a:custClr name="Iris">
      <a:srgbClr val="5944C6"/>
    </a:custClr>
    <a:custClr name="Dark Blue">
      <a:srgbClr val="1781E3"/>
    </a:custClr>
    <a:custClr name="Turquoise">
      <a:srgbClr val="0EABA9"/>
    </a:custClr>
    <a:custClr name="Aluminium">
      <a:srgbClr val="DDE3E7"/>
    </a:custClr>
    <a:custClr name="Horizon">
      <a:srgbClr val="EEF3F6"/>
    </a:custClr>
  </a:custClrLst>
  <a:extLst>
    <a:ext uri="{05A4C25C-085E-4340-85A3-A5531E510DB2}">
      <thm15:themeFamily xmlns:thm15="http://schemas.microsoft.com/office/thememl/2012/main" name="Präsentation1" id="{C8DD32B6-862C-4E00-AB40-682586D506A8}" vid="{A68E113B-0F9F-4AEF-923E-A48B9A9CEC1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28792A905D4FBE4781303B372FFF56B7" ma:contentTypeVersion="8" ma:contentTypeDescription="Ein neues Dokument erstellen." ma:contentTypeScope="" ma:versionID="1778ac4254428fd8dcfb4dc1c346fd92">
  <xsd:schema xmlns:xsd="http://www.w3.org/2001/XMLSchema" xmlns:xs="http://www.w3.org/2001/XMLSchema" xmlns:p="http://schemas.microsoft.com/office/2006/metadata/properties" xmlns:ns3="3e5e162a-5953-4fde-83b3-9639e6ab13bb" targetNamespace="http://schemas.microsoft.com/office/2006/metadata/properties" ma:root="true" ma:fieldsID="3cfd1d800c203e42ff8f3b3519a8cd64" ns3:_="">
    <xsd:import namespace="3e5e162a-5953-4fde-83b3-9639e6ab13bb"/>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5e162a-5953-4fde-83b3-9639e6ab13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14E5AFF-82D4-41E9-A844-AC77284E0AD4}">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3e5e162a-5953-4fde-83b3-9639e6ab13bb"/>
    <ds:schemaRef ds:uri="http://purl.org/dc/terms/"/>
    <ds:schemaRef ds:uri="http://www.w3.org/XML/1998/namespace"/>
    <ds:schemaRef ds:uri="http://purl.org/dc/dcmitype/"/>
  </ds:schemaRefs>
</ds:datastoreItem>
</file>

<file path=customXml/itemProps2.xml><?xml version="1.0" encoding="utf-8"?>
<ds:datastoreItem xmlns:ds="http://schemas.openxmlformats.org/officeDocument/2006/customXml" ds:itemID="{3AEBF10C-360A-4DB6-A409-C5618882BBD0}">
  <ds:schemaRefs>
    <ds:schemaRef ds:uri="3e5e162a-5953-4fde-83b3-9639e6ab13b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F3BE7FE-F078-45E5-A4DB-1BE54006E469}">
  <ds:schemaRefs>
    <ds:schemaRef ds:uri="http://schemas.microsoft.com/sharepoint/v3/contenttype/forms"/>
  </ds:schemaRefs>
</ds:datastoreItem>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otalTime>0</TotalTime>
  <Words>2299</Words>
  <Application>Microsoft Office PowerPoint</Application>
  <PresentationFormat>Widescreen</PresentationFormat>
  <Paragraphs>266</Paragraphs>
  <Slides>17</Slides>
  <Notes>15</Notes>
  <HiddenSlides>0</HiddenSlides>
  <MMClips>0</MMClips>
  <ScaleCrop>false</ScaleCrop>
  <HeadingPairs>
    <vt:vector size="6" baseType="variant">
      <vt:variant>
        <vt:lpstr>Fonts Used</vt:lpstr>
      </vt:variant>
      <vt:variant>
        <vt:i4>4</vt:i4>
      </vt:variant>
      <vt:variant>
        <vt:lpstr>Theme</vt:lpstr>
      </vt:variant>
      <vt:variant>
        <vt:i4>9</vt:i4>
      </vt:variant>
      <vt:variant>
        <vt:lpstr>Slide Titles</vt:lpstr>
      </vt:variant>
      <vt:variant>
        <vt:i4>17</vt:i4>
      </vt:variant>
    </vt:vector>
  </HeadingPairs>
  <TitlesOfParts>
    <vt:vector size="30" baseType="lpstr">
      <vt:lpstr>Arial</vt:lpstr>
      <vt:lpstr>Calibri</vt:lpstr>
      <vt:lpstr>TheSans Swisscom</vt:lpstr>
      <vt:lpstr>TheSans Swisscom Light</vt:lpstr>
      <vt:lpstr>12_Blank</vt:lpstr>
      <vt:lpstr>E_Presentation_Standard</vt:lpstr>
      <vt:lpstr>20_Blank</vt:lpstr>
      <vt:lpstr>Default Design</vt:lpstr>
      <vt:lpstr>Larissa</vt:lpstr>
      <vt:lpstr>Blank</vt:lpstr>
      <vt:lpstr>1_Blank</vt:lpstr>
      <vt:lpstr>Swisscom Master 16:9</vt:lpstr>
      <vt:lpstr>1_Swisscom Master 16:9</vt:lpstr>
      <vt:lpstr>Swisscom Network Analytics SRv6 Network Observability</vt:lpstr>
      <vt:lpstr>PowerPoint Presentation</vt:lpstr>
      <vt:lpstr>“ Swisscom would not have chosen SRv6  if data plane visibility wasn't implemented  we would not deploy in production “</vt:lpstr>
      <vt:lpstr> </vt:lpstr>
      <vt:lpstr>IPFIX Covering Segment Routing For MPLS-SR, SRv6 and On-path Delay</vt:lpstr>
      <vt:lpstr>Segment Routing IPv6 Encapsulation 3 headers, one more then MPLS</vt:lpstr>
      <vt:lpstr>Monitoring L3 SRv6 VPN's with IPFIX and BGP Monitoring Protocol From L3 VPN Inventory to Realtime Network Analytics</vt:lpstr>
      <vt:lpstr>Trace Path and Measure Delay in IPv6 Data Plane Use Case Overview</vt:lpstr>
      <vt:lpstr>Measure delay and give network context Enabling a statistical network delay view</vt:lpstr>
      <vt:lpstr>Trace Path and Measure Delay in IPv6 Data Plane Use Case Applicability</vt:lpstr>
      <vt:lpstr>Network Observability in SRv6 Status, Charter Aspect and Summary</vt:lpstr>
      <vt:lpstr>Backup</vt:lpstr>
      <vt:lpstr>Network Data Collection with Network Telemetry Structured metrics enable informed decision-making</vt:lpstr>
      <vt:lpstr>PowerPoint Presentation</vt:lpstr>
      <vt:lpstr>PowerPoint Presentation</vt:lpstr>
      <vt:lpstr>BMP Covering all RIB's Extends much needed RIB coverage</vt:lpstr>
      <vt:lpstr>BMP with extended TLV support Brings visibility into FIB's and route-polic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Mankel@swisscom.com</dc:creator>
  <cp:lastModifiedBy>Graf Thomas, INI-NET-VNC-HCS</cp:lastModifiedBy>
  <cp:revision>218</cp:revision>
  <dcterms:created xsi:type="dcterms:W3CDTF">2016-05-10T09:20:19Z</dcterms:created>
  <dcterms:modified xsi:type="dcterms:W3CDTF">2024-03-20T23:5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792A905D4FBE4781303B372FFF56B7</vt:lpwstr>
  </property>
  <property fmtid="{D5CDD505-2E9C-101B-9397-08002B2CF9AE}" pid="3" name="_dlc_DocIdItemGuid">
    <vt:lpwstr>965fe21c-2b00-4877-9ea6-4f512aab3804</vt:lpwstr>
  </property>
  <property fmtid="{D5CDD505-2E9C-101B-9397-08002B2CF9AE}" pid="4" name="_NewReviewCycle">
    <vt:lpwstr/>
  </property>
  <property fmtid="{D5CDD505-2E9C-101B-9397-08002B2CF9AE}" pid="5" name="MSIP_Label_2e1fccfb-80ca-4fe1-a574-1516544edb53_Enabled">
    <vt:lpwstr>true</vt:lpwstr>
  </property>
  <property fmtid="{D5CDD505-2E9C-101B-9397-08002B2CF9AE}" pid="6" name="MSIP_Label_2e1fccfb-80ca-4fe1-a574-1516544edb53_SetDate">
    <vt:lpwstr>2023-06-15T06:51:19Z</vt:lpwstr>
  </property>
  <property fmtid="{D5CDD505-2E9C-101B-9397-08002B2CF9AE}" pid="7" name="MSIP_Label_2e1fccfb-80ca-4fe1-a574-1516544edb53_Method">
    <vt:lpwstr>Standard</vt:lpwstr>
  </property>
  <property fmtid="{D5CDD505-2E9C-101B-9397-08002B2CF9AE}" pid="8" name="MSIP_Label_2e1fccfb-80ca-4fe1-a574-1516544edb53_Name">
    <vt:lpwstr>C2 Internal</vt:lpwstr>
  </property>
  <property fmtid="{D5CDD505-2E9C-101B-9397-08002B2CF9AE}" pid="9" name="MSIP_Label_2e1fccfb-80ca-4fe1-a574-1516544edb53_SiteId">
    <vt:lpwstr>364e5b87-c1c7-420d-9bee-c35d19b557a1</vt:lpwstr>
  </property>
  <property fmtid="{D5CDD505-2E9C-101B-9397-08002B2CF9AE}" pid="10" name="MSIP_Label_2e1fccfb-80ca-4fe1-a574-1516544edb53_ContentBits">
    <vt:lpwstr>0</vt:lpwstr>
  </property>
  <property fmtid="{D5CDD505-2E9C-101B-9397-08002B2CF9AE}" pid="11" name="Sensitivity">
    <vt:lpwstr>C2 General</vt:lpwstr>
  </property>
</Properties>
</file>